
<file path=[Content_Types].xml><?xml version="1.0" encoding="utf-8"?>
<Types xmlns="http://schemas.openxmlformats.org/package/2006/content-types"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03" r:id="rId3"/>
    <p:sldId id="1204" r:id="rId4"/>
    <p:sldId id="1205" r:id="rId5"/>
    <p:sldId id="1206" r:id="rId6"/>
    <p:sldId id="1207" r:id="rId7"/>
    <p:sldId id="1208" r:id="rId8"/>
    <p:sldId id="1209" r:id="rId9"/>
    <p:sldId id="1210" r:id="rId10"/>
    <p:sldId id="1211" r:id="rId11"/>
    <p:sldId id="1212" r:id="rId12"/>
    <p:sldId id="1213" r:id="rId13"/>
    <p:sldId id="1214" r:id="rId14"/>
    <p:sldId id="1215" r:id="rId15"/>
    <p:sldId id="1216" r:id="rId16"/>
    <p:sldId id="1217" r:id="rId17"/>
    <p:sldId id="1218" r:id="rId18"/>
    <p:sldId id="1219" r:id="rId19"/>
    <p:sldId id="1220" r:id="rId20"/>
    <p:sldId id="1221" r:id="rId21"/>
    <p:sldId id="1222" r:id="rId22"/>
    <p:sldId id="1223" r:id="rId23"/>
    <p:sldId id="1224" r:id="rId24"/>
    <p:sldId id="1225" r:id="rId25"/>
    <p:sldId id="1226" r:id="rId26"/>
    <p:sldId id="1227" r:id="rId27"/>
    <p:sldId id="1228" r:id="rId28"/>
    <p:sldId id="1229" r:id="rId29"/>
    <p:sldId id="1230" r:id="rId30"/>
    <p:sldId id="1231" r:id="rId31"/>
    <p:sldId id="1232" r:id="rId32"/>
    <p:sldId id="1233" r:id="rId33"/>
    <p:sldId id="123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>
      <p:cViewPr varScale="1">
        <p:scale>
          <a:sx n="88" d="100"/>
          <a:sy n="88" d="100"/>
        </p:scale>
        <p:origin x="65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01</c:v>
                </c:pt>
                <c:pt idx="1">
                  <c:v>1420</c:v>
                </c:pt>
                <c:pt idx="2">
                  <c:v>1397</c:v>
                </c:pt>
                <c:pt idx="3">
                  <c:v>1378</c:v>
                </c:pt>
                <c:pt idx="4">
                  <c:v>1344</c:v>
                </c:pt>
                <c:pt idx="5">
                  <c:v>1392</c:v>
                </c:pt>
                <c:pt idx="6">
                  <c:v>1358</c:v>
                </c:pt>
                <c:pt idx="7">
                  <c:v>1312</c:v>
                </c:pt>
                <c:pt idx="8">
                  <c:v>1232</c:v>
                </c:pt>
                <c:pt idx="9">
                  <c:v>1213</c:v>
                </c:pt>
                <c:pt idx="10">
                  <c:v>1195</c:v>
                </c:pt>
                <c:pt idx="11">
                  <c:v>1182</c:v>
                </c:pt>
                <c:pt idx="12">
                  <c:v>1154</c:v>
                </c:pt>
                <c:pt idx="13">
                  <c:v>1110</c:v>
                </c:pt>
                <c:pt idx="14">
                  <c:v>1033</c:v>
                </c:pt>
                <c:pt idx="15">
                  <c:v>1010</c:v>
                </c:pt>
                <c:pt idx="16">
                  <c:v>971</c:v>
                </c:pt>
                <c:pt idx="17">
                  <c:v>973</c:v>
                </c:pt>
                <c:pt idx="18">
                  <c:v>992</c:v>
                </c:pt>
                <c:pt idx="19">
                  <c:v>941</c:v>
                </c:pt>
                <c:pt idx="20">
                  <c:v>906</c:v>
                </c:pt>
                <c:pt idx="21">
                  <c:v>830</c:v>
                </c:pt>
                <c:pt idx="22">
                  <c:v>784</c:v>
                </c:pt>
                <c:pt idx="23">
                  <c:v>749</c:v>
                </c:pt>
                <c:pt idx="24">
                  <c:v>757</c:v>
                </c:pt>
                <c:pt idx="25">
                  <c:v>735</c:v>
                </c:pt>
                <c:pt idx="26">
                  <c:v>709</c:v>
                </c:pt>
                <c:pt idx="27">
                  <c:v>683</c:v>
                </c:pt>
                <c:pt idx="28">
                  <c:v>634</c:v>
                </c:pt>
                <c:pt idx="29">
                  <c:v>576</c:v>
                </c:pt>
                <c:pt idx="30">
                  <c:v>551</c:v>
                </c:pt>
                <c:pt idx="31">
                  <c:v>557</c:v>
                </c:pt>
                <c:pt idx="32">
                  <c:v>563</c:v>
                </c:pt>
                <c:pt idx="33">
                  <c:v>542</c:v>
                </c:pt>
                <c:pt idx="34">
                  <c:v>499</c:v>
                </c:pt>
                <c:pt idx="35">
                  <c:v>464</c:v>
                </c:pt>
                <c:pt idx="36">
                  <c:v>441</c:v>
                </c:pt>
                <c:pt idx="37">
                  <c:v>413</c:v>
                </c:pt>
                <c:pt idx="38">
                  <c:v>419</c:v>
                </c:pt>
                <c:pt idx="39">
                  <c:v>425</c:v>
                </c:pt>
                <c:pt idx="40">
                  <c:v>402</c:v>
                </c:pt>
                <c:pt idx="41">
                  <c:v>377</c:v>
                </c:pt>
                <c:pt idx="42">
                  <c:v>367</c:v>
                </c:pt>
                <c:pt idx="43">
                  <c:v>340</c:v>
                </c:pt>
                <c:pt idx="44">
                  <c:v>307</c:v>
                </c:pt>
                <c:pt idx="45">
                  <c:v>302</c:v>
                </c:pt>
                <c:pt idx="46">
                  <c:v>294</c:v>
                </c:pt>
                <c:pt idx="47">
                  <c:v>278</c:v>
                </c:pt>
                <c:pt idx="48">
                  <c:v>249</c:v>
                </c:pt>
                <c:pt idx="49">
                  <c:v>218</c:v>
                </c:pt>
                <c:pt idx="50">
                  <c:v>191</c:v>
                </c:pt>
                <c:pt idx="51">
                  <c:v>189</c:v>
                </c:pt>
                <c:pt idx="52">
                  <c:v>187</c:v>
                </c:pt>
                <c:pt idx="53">
                  <c:v>182</c:v>
                </c:pt>
                <c:pt idx="54">
                  <c:v>162</c:v>
                </c:pt>
                <c:pt idx="55">
                  <c:v>156</c:v>
                </c:pt>
                <c:pt idx="56">
                  <c:v>144</c:v>
                </c:pt>
                <c:pt idx="57">
                  <c:v>128</c:v>
                </c:pt>
                <c:pt idx="58">
                  <c:v>111</c:v>
                </c:pt>
                <c:pt idx="59">
                  <c:v>113</c:v>
                </c:pt>
                <c:pt idx="60">
                  <c:v>117</c:v>
                </c:pt>
                <c:pt idx="61">
                  <c:v>102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12.43872983210565</c:v>
                </c:pt>
                <c:pt idx="27">
                  <c:v>680.85320605749507</c:v>
                </c:pt>
                <c:pt idx="28">
                  <c:v>651.5621026606583</c:v>
                </c:pt>
                <c:pt idx="29">
                  <c:v>623.55678321008065</c:v>
                </c:pt>
                <c:pt idx="30">
                  <c:v>597.39898718966253</c:v>
                </c:pt>
                <c:pt idx="31">
                  <c:v>573.64042929923028</c:v>
                </c:pt>
                <c:pt idx="32">
                  <c:v>551.24024695820356</c:v>
                </c:pt>
                <c:pt idx="33">
                  <c:v>530.37050732899945</c:v>
                </c:pt>
                <c:pt idx="34">
                  <c:v>510.45725976489297</c:v>
                </c:pt>
                <c:pt idx="35">
                  <c:v>491.60838218842571</c:v>
                </c:pt>
                <c:pt idx="36">
                  <c:v>473.41853325775912</c:v>
                </c:pt>
                <c:pt idx="37">
                  <c:v>456.26954668296116</c:v>
                </c:pt>
                <c:pt idx="38">
                  <c:v>439.8768621782873</c:v>
                </c:pt>
                <c:pt idx="39">
                  <c:v>423.76120237760796</c:v>
                </c:pt>
                <c:pt idx="40">
                  <c:v>408.4114366125541</c:v>
                </c:pt>
                <c:pt idx="41">
                  <c:v>393.25773537891848</c:v>
                </c:pt>
                <c:pt idx="42">
                  <c:v>378.40709820789067</c:v>
                </c:pt>
                <c:pt idx="43">
                  <c:v>363.73441568631836</c:v>
                </c:pt>
                <c:pt idx="44">
                  <c:v>349.42056930842341</c:v>
                </c:pt>
                <c:pt idx="45">
                  <c:v>335.42059559249395</c:v>
                </c:pt>
                <c:pt idx="46">
                  <c:v>321.79414887381375</c:v>
                </c:pt>
                <c:pt idx="47">
                  <c:v>308.53304930739375</c:v>
                </c:pt>
                <c:pt idx="48">
                  <c:v>295.51401232423285</c:v>
                </c:pt>
                <c:pt idx="49">
                  <c:v>282.89405227992489</c:v>
                </c:pt>
                <c:pt idx="50">
                  <c:v>270.45095008853383</c:v>
                </c:pt>
                <c:pt idx="51">
                  <c:v>258.38891625148716</c:v>
                </c:pt>
                <c:pt idx="52">
                  <c:v>246.73841968975324</c:v>
                </c:pt>
                <c:pt idx="53">
                  <c:v>235.53153061592064</c:v>
                </c:pt>
                <c:pt idx="54">
                  <c:v>224.60820005150549</c:v>
                </c:pt>
                <c:pt idx="55">
                  <c:v>214.09252154238152</c:v>
                </c:pt>
                <c:pt idx="56">
                  <c:v>203.96889972933829</c:v>
                </c:pt>
                <c:pt idx="57">
                  <c:v>194.2051928901956</c:v>
                </c:pt>
                <c:pt idx="58">
                  <c:v>184.77638080115489</c:v>
                </c:pt>
                <c:pt idx="59">
                  <c:v>175.70172360066476</c:v>
                </c:pt>
                <c:pt idx="60">
                  <c:v>167.07520572286853</c:v>
                </c:pt>
                <c:pt idx="61">
                  <c:v>158.82244747792544</c:v>
                </c:pt>
                <c:pt idx="62">
                  <c:v>150.89428527706372</c:v>
                </c:pt>
                <c:pt idx="63">
                  <c:v>143.36999392981031</c:v>
                </c:pt>
                <c:pt idx="64">
                  <c:v>136.07085987914178</c:v>
                </c:pt>
                <c:pt idx="65">
                  <c:v>129.12066785338448</c:v>
                </c:pt>
                <c:pt idx="66">
                  <c:v>122.51085397983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1E0-4231-8F18-A7B6D281C4B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12.98876248241982</c:v>
                </c:pt>
                <c:pt idx="27">
                  <c:v>682.41286438042255</c:v>
                </c:pt>
                <c:pt idx="28">
                  <c:v>654.49173584415189</c:v>
                </c:pt>
                <c:pt idx="29">
                  <c:v>628.13934425481079</c:v>
                </c:pt>
                <c:pt idx="30">
                  <c:v>603.96611728825189</c:v>
                </c:pt>
                <c:pt idx="31">
                  <c:v>582.55655607243784</c:v>
                </c:pt>
                <c:pt idx="32">
                  <c:v>562.91095544433108</c:v>
                </c:pt>
                <c:pt idx="33">
                  <c:v>545.21407355090992</c:v>
                </c:pt>
                <c:pt idx="34">
                  <c:v>528.79550186756444</c:v>
                </c:pt>
                <c:pt idx="35">
                  <c:v>513.69916199789293</c:v>
                </c:pt>
                <c:pt idx="36">
                  <c:v>499.47985944811921</c:v>
                </c:pt>
                <c:pt idx="37">
                  <c:v>486.49920156576968</c:v>
                </c:pt>
                <c:pt idx="38">
                  <c:v>474.4379571654149</c:v>
                </c:pt>
                <c:pt idx="39">
                  <c:v>462.76512581381337</c:v>
                </c:pt>
                <c:pt idx="40">
                  <c:v>451.90333736922213</c:v>
                </c:pt>
                <c:pt idx="41">
                  <c:v>441.22273582104395</c:v>
                </c:pt>
                <c:pt idx="42">
                  <c:v>430.79938966718987</c:v>
                </c:pt>
                <c:pt idx="43">
                  <c:v>420.47358926063424</c:v>
                </c:pt>
                <c:pt idx="44">
                  <c:v>410.39551747197368</c:v>
                </c:pt>
                <c:pt idx="45">
                  <c:v>400.49014784504021</c:v>
                </c:pt>
                <c:pt idx="46">
                  <c:v>390.79971608668461</c:v>
                </c:pt>
                <c:pt idx="47">
                  <c:v>381.29069759549327</c:v>
                </c:pt>
                <c:pt idx="48">
                  <c:v>371.81645527560374</c:v>
                </c:pt>
                <c:pt idx="49">
                  <c:v>362.5330370260034</c:v>
                </c:pt>
                <c:pt idx="50">
                  <c:v>353.2039428987971</c:v>
                </c:pt>
                <c:pt idx="51">
                  <c:v>344.03076599440504</c:v>
                </c:pt>
                <c:pt idx="52">
                  <c:v>335.04132086192249</c:v>
                </c:pt>
                <c:pt idx="53">
                  <c:v>326.26790943662024</c:v>
                </c:pt>
                <c:pt idx="54">
                  <c:v>317.55126942873432</c:v>
                </c:pt>
                <c:pt idx="55">
                  <c:v>309.02023076263083</c:v>
                </c:pt>
                <c:pt idx="56">
                  <c:v>300.66239917257843</c:v>
                </c:pt>
                <c:pt idx="57">
                  <c:v>292.45404749031923</c:v>
                </c:pt>
                <c:pt idx="58">
                  <c:v>284.3762938445999</c:v>
                </c:pt>
                <c:pt idx="59">
                  <c:v>276.45726041464633</c:v>
                </c:pt>
                <c:pt idx="60">
                  <c:v>268.7965540805148</c:v>
                </c:pt>
                <c:pt idx="61">
                  <c:v>261.33416786664185</c:v>
                </c:pt>
                <c:pt idx="62">
                  <c:v>254.02401061156294</c:v>
                </c:pt>
                <c:pt idx="63">
                  <c:v>246.958408950923</c:v>
                </c:pt>
                <c:pt idx="64">
                  <c:v>239.96527629294263</c:v>
                </c:pt>
                <c:pt idx="65">
                  <c:v>233.17745936769148</c:v>
                </c:pt>
                <c:pt idx="66">
                  <c:v>226.5919586907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E0-4231-8F18-A7B6D281C4B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13.53462821871597</c:v>
                </c:pt>
                <c:pt idx="27">
                  <c:v>683.96714688620352</c:v>
                </c:pt>
                <c:pt idx="28">
                  <c:v>657.41515382780187</c:v>
                </c:pt>
                <c:pt idx="29">
                  <c:v>632.71496132046911</c:v>
                </c:pt>
                <c:pt idx="30">
                  <c:v>610.5506537112617</c:v>
                </c:pt>
                <c:pt idx="31">
                  <c:v>591.56350865560921</c:v>
                </c:pt>
                <c:pt idx="32">
                  <c:v>574.81714247051502</c:v>
                </c:pt>
                <c:pt idx="33">
                  <c:v>560.52062365126164</c:v>
                </c:pt>
                <c:pt idx="34">
                  <c:v>547.90395099461273</c:v>
                </c:pt>
                <c:pt idx="35">
                  <c:v>536.94701676095406</c:v>
                </c:pt>
                <c:pt idx="36">
                  <c:v>527.19340720809441</c:v>
                </c:pt>
                <c:pt idx="37">
                  <c:v>519.01145146651311</c:v>
                </c:pt>
                <c:pt idx="38">
                  <c:v>512.04997731859964</c:v>
                </c:pt>
                <c:pt idx="39">
                  <c:v>505.7270070112325</c:v>
                </c:pt>
                <c:pt idx="40">
                  <c:v>500.41296658464313</c:v>
                </c:pt>
                <c:pt idx="41">
                  <c:v>495.41688791621959</c:v>
                </c:pt>
                <c:pt idx="42">
                  <c:v>490.7757788200102</c:v>
                </c:pt>
                <c:pt idx="43">
                  <c:v>486.30841519447472</c:v>
                </c:pt>
                <c:pt idx="44">
                  <c:v>482.14592078660121</c:v>
                </c:pt>
                <c:pt idx="45">
                  <c:v>478.17470468414865</c:v>
                </c:pt>
                <c:pt idx="46">
                  <c:v>474.39443152815562</c:v>
                </c:pt>
                <c:pt idx="47">
                  <c:v>470.74300778637439</c:v>
                </c:pt>
                <c:pt idx="48">
                  <c:v>467.06244808554663</c:v>
                </c:pt>
                <c:pt idx="49">
                  <c:v>463.4843739509364</c:v>
                </c:pt>
                <c:pt idx="50">
                  <c:v>459.76431532745664</c:v>
                </c:pt>
                <c:pt idx="51">
                  <c:v>456.08338778718974</c:v>
                </c:pt>
                <c:pt idx="52">
                  <c:v>452.45977784525905</c:v>
                </c:pt>
                <c:pt idx="53">
                  <c:v>448.91342890858789</c:v>
                </c:pt>
                <c:pt idx="54">
                  <c:v>445.27749248814922</c:v>
                </c:pt>
                <c:pt idx="55">
                  <c:v>441.68460345303595</c:v>
                </c:pt>
                <c:pt idx="56">
                  <c:v>438.11175765773083</c:v>
                </c:pt>
                <c:pt idx="57">
                  <c:v>434.53111596809697</c:v>
                </c:pt>
                <c:pt idx="58">
                  <c:v>430.92969958213803</c:v>
                </c:pt>
                <c:pt idx="59">
                  <c:v>427.32253192053236</c:v>
                </c:pt>
                <c:pt idx="60">
                  <c:v>423.81754074420707</c:v>
                </c:pt>
                <c:pt idx="61">
                  <c:v>420.3521680688246</c:v>
                </c:pt>
                <c:pt idx="62">
                  <c:v>416.88367201206717</c:v>
                </c:pt>
                <c:pt idx="63">
                  <c:v>413.50470438878438</c:v>
                </c:pt>
                <c:pt idx="64">
                  <c:v>410.04390844283131</c:v>
                </c:pt>
                <c:pt idx="65">
                  <c:v>406.64172789775728</c:v>
                </c:pt>
                <c:pt idx="66">
                  <c:v>403.29375501739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1E0-4231-8F18-A7B6D281C4B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14.35551028016948</c:v>
                </c:pt>
                <c:pt idx="27">
                  <c:v>686.30542546746562</c:v>
                </c:pt>
                <c:pt idx="28">
                  <c:v>661.81084767735422</c:v>
                </c:pt>
                <c:pt idx="29">
                  <c:v>639.59076201690914</c:v>
                </c:pt>
                <c:pt idx="30">
                  <c:v>620.49756084384876</c:v>
                </c:pt>
                <c:pt idx="31">
                  <c:v>605.29705277523442</c:v>
                </c:pt>
                <c:pt idx="32">
                  <c:v>593.17836949586479</c:v>
                </c:pt>
                <c:pt idx="33">
                  <c:v>584.41767045124209</c:v>
                </c:pt>
                <c:pt idx="34">
                  <c:v>578.09142052422317</c:v>
                </c:pt>
                <c:pt idx="35">
                  <c:v>574.11055969810525</c:v>
                </c:pt>
                <c:pt idx="36">
                  <c:v>572.0360736605345</c:v>
                </c:pt>
                <c:pt idx="37">
                  <c:v>572.30479892600772</c:v>
                </c:pt>
                <c:pt idx="38">
                  <c:v>574.56324362337398</c:v>
                </c:pt>
                <c:pt idx="39">
                  <c:v>578.16898907789653</c:v>
                </c:pt>
                <c:pt idx="40">
                  <c:v>583.40778683899225</c:v>
                </c:pt>
                <c:pt idx="41">
                  <c:v>589.52242146060667</c:v>
                </c:pt>
                <c:pt idx="42">
                  <c:v>596.5400495154687</c:v>
                </c:pt>
                <c:pt idx="43">
                  <c:v>604.27542563106101</c:v>
                </c:pt>
                <c:pt idx="44">
                  <c:v>612.84244856221346</c:v>
                </c:pt>
                <c:pt idx="45">
                  <c:v>622.07259509710343</c:v>
                </c:pt>
                <c:pt idx="46">
                  <c:v>631.92087585583999</c:v>
                </c:pt>
                <c:pt idx="47">
                  <c:v>642.28204307295368</c:v>
                </c:pt>
                <c:pt idx="48">
                  <c:v>652.98900849198481</c:v>
                </c:pt>
                <c:pt idx="49">
                  <c:v>664.17476305530238</c:v>
                </c:pt>
                <c:pt idx="50">
                  <c:v>675.57419591293683</c:v>
                </c:pt>
                <c:pt idx="51">
                  <c:v>687.34326984775601</c:v>
                </c:pt>
                <c:pt idx="52">
                  <c:v>699.46986595100611</c:v>
                </c:pt>
                <c:pt idx="53">
                  <c:v>711.96553770726246</c:v>
                </c:pt>
                <c:pt idx="54">
                  <c:v>724.66444335595486</c:v>
                </c:pt>
                <c:pt idx="55">
                  <c:v>737.69438135591508</c:v>
                </c:pt>
                <c:pt idx="56">
                  <c:v>751.02528159227018</c:v>
                </c:pt>
                <c:pt idx="57">
                  <c:v>764.61935004944417</c:v>
                </c:pt>
                <c:pt idx="58">
                  <c:v>778.45323301121505</c:v>
                </c:pt>
                <c:pt idx="59">
                  <c:v>792.55051275229448</c:v>
                </c:pt>
                <c:pt idx="60">
                  <c:v>807.01342494085065</c:v>
                </c:pt>
                <c:pt idx="61">
                  <c:v>821.78071644483441</c:v>
                </c:pt>
                <c:pt idx="62">
                  <c:v>836.8116009712827</c:v>
                </c:pt>
                <c:pt idx="63">
                  <c:v>852.19736692510378</c:v>
                </c:pt>
                <c:pt idx="64">
                  <c:v>867.76851587142414</c:v>
                </c:pt>
                <c:pt idx="65">
                  <c:v>883.66419674704127</c:v>
                </c:pt>
                <c:pt idx="66">
                  <c:v>899.887122921548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1E0-4231-8F18-A7B6D281C4B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891</c:v>
                </c:pt>
                <c:pt idx="1">
                  <c:v>1891</c:v>
                </c:pt>
                <c:pt idx="2">
                  <c:v>1891</c:v>
                </c:pt>
                <c:pt idx="3">
                  <c:v>1891</c:v>
                </c:pt>
                <c:pt idx="4">
                  <c:v>1891</c:v>
                </c:pt>
                <c:pt idx="5">
                  <c:v>1891</c:v>
                </c:pt>
                <c:pt idx="6">
                  <c:v>1891</c:v>
                </c:pt>
                <c:pt idx="7">
                  <c:v>1891</c:v>
                </c:pt>
                <c:pt idx="8">
                  <c:v>1891</c:v>
                </c:pt>
                <c:pt idx="9">
                  <c:v>1891</c:v>
                </c:pt>
                <c:pt idx="10">
                  <c:v>1891</c:v>
                </c:pt>
                <c:pt idx="11">
                  <c:v>1891</c:v>
                </c:pt>
                <c:pt idx="12">
                  <c:v>1891</c:v>
                </c:pt>
                <c:pt idx="13">
                  <c:v>1891</c:v>
                </c:pt>
                <c:pt idx="14">
                  <c:v>1891</c:v>
                </c:pt>
                <c:pt idx="15">
                  <c:v>1891</c:v>
                </c:pt>
                <c:pt idx="16">
                  <c:v>1891</c:v>
                </c:pt>
                <c:pt idx="17">
                  <c:v>1891</c:v>
                </c:pt>
                <c:pt idx="18">
                  <c:v>1891</c:v>
                </c:pt>
                <c:pt idx="19">
                  <c:v>1891</c:v>
                </c:pt>
                <c:pt idx="20">
                  <c:v>1891</c:v>
                </c:pt>
                <c:pt idx="21">
                  <c:v>1891</c:v>
                </c:pt>
                <c:pt idx="22">
                  <c:v>1891</c:v>
                </c:pt>
                <c:pt idx="23">
                  <c:v>1891</c:v>
                </c:pt>
                <c:pt idx="24">
                  <c:v>1891</c:v>
                </c:pt>
                <c:pt idx="25">
                  <c:v>1891</c:v>
                </c:pt>
                <c:pt idx="26">
                  <c:v>1891</c:v>
                </c:pt>
                <c:pt idx="27">
                  <c:v>1891</c:v>
                </c:pt>
                <c:pt idx="28">
                  <c:v>1891</c:v>
                </c:pt>
                <c:pt idx="29">
                  <c:v>1891</c:v>
                </c:pt>
                <c:pt idx="30">
                  <c:v>1891</c:v>
                </c:pt>
                <c:pt idx="31">
                  <c:v>1891</c:v>
                </c:pt>
                <c:pt idx="32">
                  <c:v>1891</c:v>
                </c:pt>
                <c:pt idx="33">
                  <c:v>1891</c:v>
                </c:pt>
                <c:pt idx="34">
                  <c:v>1891</c:v>
                </c:pt>
                <c:pt idx="35">
                  <c:v>1891</c:v>
                </c:pt>
                <c:pt idx="36">
                  <c:v>1891</c:v>
                </c:pt>
                <c:pt idx="37">
                  <c:v>1891</c:v>
                </c:pt>
                <c:pt idx="38">
                  <c:v>1891</c:v>
                </c:pt>
                <c:pt idx="39">
                  <c:v>1891</c:v>
                </c:pt>
                <c:pt idx="40">
                  <c:v>1891</c:v>
                </c:pt>
                <c:pt idx="41">
                  <c:v>1891</c:v>
                </c:pt>
                <c:pt idx="42">
                  <c:v>1891</c:v>
                </c:pt>
                <c:pt idx="43">
                  <c:v>1891</c:v>
                </c:pt>
                <c:pt idx="44">
                  <c:v>1891</c:v>
                </c:pt>
                <c:pt idx="45">
                  <c:v>1891</c:v>
                </c:pt>
                <c:pt idx="46">
                  <c:v>1891</c:v>
                </c:pt>
                <c:pt idx="47">
                  <c:v>1891</c:v>
                </c:pt>
                <c:pt idx="48">
                  <c:v>1891</c:v>
                </c:pt>
                <c:pt idx="49">
                  <c:v>1891</c:v>
                </c:pt>
                <c:pt idx="50">
                  <c:v>1891</c:v>
                </c:pt>
                <c:pt idx="51">
                  <c:v>1891</c:v>
                </c:pt>
                <c:pt idx="52">
                  <c:v>1891</c:v>
                </c:pt>
                <c:pt idx="53">
                  <c:v>1891</c:v>
                </c:pt>
                <c:pt idx="54">
                  <c:v>1891</c:v>
                </c:pt>
                <c:pt idx="55">
                  <c:v>1891</c:v>
                </c:pt>
                <c:pt idx="56">
                  <c:v>1891</c:v>
                </c:pt>
                <c:pt idx="57">
                  <c:v>1891</c:v>
                </c:pt>
                <c:pt idx="58">
                  <c:v>1891</c:v>
                </c:pt>
                <c:pt idx="59">
                  <c:v>1891</c:v>
                </c:pt>
                <c:pt idx="60">
                  <c:v>1891</c:v>
                </c:pt>
                <c:pt idx="61">
                  <c:v>1891</c:v>
                </c:pt>
                <c:pt idx="62">
                  <c:v>1891</c:v>
                </c:pt>
                <c:pt idx="63">
                  <c:v>1891</c:v>
                </c:pt>
                <c:pt idx="64">
                  <c:v>1891</c:v>
                </c:pt>
                <c:pt idx="65">
                  <c:v>1891</c:v>
                </c:pt>
                <c:pt idx="66">
                  <c:v>18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9</c:v>
                </c:pt>
                <c:pt idx="1">
                  <c:v>61</c:v>
                </c:pt>
                <c:pt idx="2">
                  <c:v>63</c:v>
                </c:pt>
                <c:pt idx="3">
                  <c:v>62</c:v>
                </c:pt>
                <c:pt idx="4">
                  <c:v>62</c:v>
                </c:pt>
                <c:pt idx="5">
                  <c:v>58</c:v>
                </c:pt>
                <c:pt idx="6">
                  <c:v>53</c:v>
                </c:pt>
                <c:pt idx="7">
                  <c:v>55</c:v>
                </c:pt>
                <c:pt idx="8">
                  <c:v>48</c:v>
                </c:pt>
                <c:pt idx="9">
                  <c:v>50</c:v>
                </c:pt>
                <c:pt idx="10">
                  <c:v>47</c:v>
                </c:pt>
                <c:pt idx="11">
                  <c:v>51</c:v>
                </c:pt>
                <c:pt idx="12">
                  <c:v>49</c:v>
                </c:pt>
                <c:pt idx="13">
                  <c:v>50</c:v>
                </c:pt>
                <c:pt idx="14">
                  <c:v>46</c:v>
                </c:pt>
                <c:pt idx="15">
                  <c:v>39</c:v>
                </c:pt>
                <c:pt idx="16">
                  <c:v>37</c:v>
                </c:pt>
                <c:pt idx="17">
                  <c:v>37</c:v>
                </c:pt>
                <c:pt idx="18">
                  <c:v>38</c:v>
                </c:pt>
                <c:pt idx="19">
                  <c:v>36</c:v>
                </c:pt>
                <c:pt idx="20">
                  <c:v>34</c:v>
                </c:pt>
                <c:pt idx="21">
                  <c:v>27</c:v>
                </c:pt>
                <c:pt idx="22">
                  <c:v>21</c:v>
                </c:pt>
                <c:pt idx="23">
                  <c:v>21</c:v>
                </c:pt>
                <c:pt idx="24">
                  <c:v>22</c:v>
                </c:pt>
                <c:pt idx="25">
                  <c:v>20</c:v>
                </c:pt>
                <c:pt idx="26">
                  <c:v>21</c:v>
                </c:pt>
                <c:pt idx="27">
                  <c:v>20</c:v>
                </c:pt>
                <c:pt idx="28">
                  <c:v>17</c:v>
                </c:pt>
                <c:pt idx="29">
                  <c:v>12</c:v>
                </c:pt>
                <c:pt idx="30">
                  <c:v>10</c:v>
                </c:pt>
                <c:pt idx="31">
                  <c:v>9</c:v>
                </c:pt>
                <c:pt idx="32">
                  <c:v>9</c:v>
                </c:pt>
                <c:pt idx="33">
                  <c:v>7</c:v>
                </c:pt>
                <c:pt idx="34">
                  <c:v>8</c:v>
                </c:pt>
                <c:pt idx="35">
                  <c:v>7</c:v>
                </c:pt>
                <c:pt idx="36">
                  <c:v>7</c:v>
                </c:pt>
                <c:pt idx="37">
                  <c:v>8</c:v>
                </c:pt>
                <c:pt idx="38">
                  <c:v>9</c:v>
                </c:pt>
                <c:pt idx="39">
                  <c:v>8</c:v>
                </c:pt>
                <c:pt idx="40">
                  <c:v>6</c:v>
                </c:pt>
                <c:pt idx="41">
                  <c:v>7</c:v>
                </c:pt>
                <c:pt idx="42">
                  <c:v>7</c:v>
                </c:pt>
                <c:pt idx="43">
                  <c:v>6</c:v>
                </c:pt>
                <c:pt idx="44">
                  <c:v>5</c:v>
                </c:pt>
                <c:pt idx="45">
                  <c:v>6</c:v>
                </c:pt>
                <c:pt idx="46">
                  <c:v>6</c:v>
                </c:pt>
                <c:pt idx="47">
                  <c:v>5</c:v>
                </c:pt>
                <c:pt idx="48">
                  <c:v>8</c:v>
                </c:pt>
                <c:pt idx="49">
                  <c:v>6</c:v>
                </c:pt>
                <c:pt idx="50">
                  <c:v>5</c:v>
                </c:pt>
                <c:pt idx="51">
                  <c:v>5</c:v>
                </c:pt>
                <c:pt idx="52">
                  <c:v>4</c:v>
                </c:pt>
                <c:pt idx="53">
                  <c:v>4</c:v>
                </c:pt>
                <c:pt idx="54">
                  <c:v>3</c:v>
                </c:pt>
                <c:pt idx="55">
                  <c:v>3</c:v>
                </c:pt>
                <c:pt idx="56">
                  <c:v>4</c:v>
                </c:pt>
                <c:pt idx="57">
                  <c:v>4</c:v>
                </c:pt>
                <c:pt idx="58">
                  <c:v>3</c:v>
                </c:pt>
                <c:pt idx="59">
                  <c:v>4</c:v>
                </c:pt>
                <c:pt idx="60">
                  <c:v>4</c:v>
                </c:pt>
                <c:pt idx="61">
                  <c:v>3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1.034410338133494</c:v>
                </c:pt>
                <c:pt idx="27">
                  <c:v>20.063366619337387</c:v>
                </c:pt>
                <c:pt idx="28">
                  <c:v>19.156100830376655</c:v>
                </c:pt>
                <c:pt idx="29">
                  <c:v>18.299994777461066</c:v>
                </c:pt>
                <c:pt idx="30">
                  <c:v>17.503388536210835</c:v>
                </c:pt>
                <c:pt idx="31">
                  <c:v>16.77901778204366</c:v>
                </c:pt>
                <c:pt idx="32">
                  <c:v>16.101721352701002</c:v>
                </c:pt>
                <c:pt idx="33">
                  <c:v>15.471613767482262</c:v>
                </c:pt>
                <c:pt idx="34">
                  <c:v>14.869564008998553</c:v>
                </c:pt>
                <c:pt idx="35">
                  <c:v>14.296570304228009</c:v>
                </c:pt>
                <c:pt idx="36">
                  <c:v>13.752500286263794</c:v>
                </c:pt>
                <c:pt idx="37">
                  <c:v>13.239429620255091</c:v>
                </c:pt>
                <c:pt idx="38">
                  <c:v>12.753712130351673</c:v>
                </c:pt>
                <c:pt idx="39">
                  <c:v>12.280520081197075</c:v>
                </c:pt>
                <c:pt idx="40">
                  <c:v>11.830493529716776</c:v>
                </c:pt>
                <c:pt idx="41">
                  <c:v>11.387755678404863</c:v>
                </c:pt>
                <c:pt idx="42">
                  <c:v>10.954693645236413</c:v>
                </c:pt>
                <c:pt idx="43">
                  <c:v>10.530157594221732</c:v>
                </c:pt>
                <c:pt idx="44">
                  <c:v>10.116832335157355</c:v>
                </c:pt>
                <c:pt idx="45">
                  <c:v>9.7185170149711784</c:v>
                </c:pt>
                <c:pt idx="46">
                  <c:v>9.331423993280513</c:v>
                </c:pt>
                <c:pt idx="47">
                  <c:v>8.9554449523975439</c:v>
                </c:pt>
                <c:pt idx="48">
                  <c:v>8.5871138464767682</c:v>
                </c:pt>
                <c:pt idx="49">
                  <c:v>8.2299530199866169</c:v>
                </c:pt>
                <c:pt idx="50">
                  <c:v>7.8786992795045059</c:v>
                </c:pt>
                <c:pt idx="51">
                  <c:v>7.5396056366786297</c:v>
                </c:pt>
                <c:pt idx="52">
                  <c:v>7.2136085754915173</c:v>
                </c:pt>
                <c:pt idx="53">
                  <c:v>6.9015421017118168</c:v>
                </c:pt>
                <c:pt idx="54">
                  <c:v>6.5986191906153469</c:v>
                </c:pt>
                <c:pt idx="55">
                  <c:v>6.3058139877777553</c:v>
                </c:pt>
                <c:pt idx="56">
                  <c:v>6.0248521352323383</c:v>
                </c:pt>
                <c:pt idx="57">
                  <c:v>5.7539514599930239</c:v>
                </c:pt>
                <c:pt idx="58">
                  <c:v>5.4928333058606835</c:v>
                </c:pt>
                <c:pt idx="59">
                  <c:v>5.2407241440486025</c:v>
                </c:pt>
                <c:pt idx="60">
                  <c:v>5.0023387298583923</c:v>
                </c:pt>
                <c:pt idx="61">
                  <c:v>4.775522960200739</c:v>
                </c:pt>
                <c:pt idx="62">
                  <c:v>4.5566250936065078</c:v>
                </c:pt>
                <c:pt idx="63">
                  <c:v>4.3489692386022574</c:v>
                </c:pt>
                <c:pt idx="64">
                  <c:v>4.1482681170939095</c:v>
                </c:pt>
                <c:pt idx="65">
                  <c:v>3.9569697738591412</c:v>
                </c:pt>
                <c:pt idx="66">
                  <c:v>3.77540250966733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6CD-4DD3-8379-D0E186E6DAB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1.050586815517335</c:v>
                </c:pt>
                <c:pt idx="27">
                  <c:v>20.109324329558827</c:v>
                </c:pt>
                <c:pt idx="28">
                  <c:v>19.242296545995032</c:v>
                </c:pt>
                <c:pt idx="29">
                  <c:v>18.434586989849016</c:v>
                </c:pt>
                <c:pt idx="30">
                  <c:v>17.695902723447848</c:v>
                </c:pt>
                <c:pt idx="31">
                  <c:v>17.039798805288147</c:v>
                </c:pt>
                <c:pt idx="32">
                  <c:v>16.442109057254552</c:v>
                </c:pt>
                <c:pt idx="33">
                  <c:v>15.903273483310883</c:v>
                </c:pt>
                <c:pt idx="34">
                  <c:v>15.401313237091875</c:v>
                </c:pt>
                <c:pt idx="35">
                  <c:v>14.935242740697618</c:v>
                </c:pt>
                <c:pt idx="36">
                  <c:v>14.503818466184363</c:v>
                </c:pt>
                <c:pt idx="37">
                  <c:v>14.108677420574406</c:v>
                </c:pt>
                <c:pt idx="38">
                  <c:v>13.745163991866677</c:v>
                </c:pt>
                <c:pt idx="39">
                  <c:v>13.397011167010103</c:v>
                </c:pt>
                <c:pt idx="40">
                  <c:v>13.072905440558358</c:v>
                </c:pt>
                <c:pt idx="41">
                  <c:v>12.755362829521291</c:v>
                </c:pt>
                <c:pt idx="42">
                  <c:v>12.445949023357318</c:v>
                </c:pt>
                <c:pt idx="43">
                  <c:v>12.142553720052121</c:v>
                </c:pt>
                <c:pt idx="44">
                  <c:v>11.847020820232466</c:v>
                </c:pt>
                <c:pt idx="45">
                  <c:v>11.562300801578353</c:v>
                </c:pt>
                <c:pt idx="46">
                  <c:v>11.284166351870308</c:v>
                </c:pt>
                <c:pt idx="47">
                  <c:v>11.011825646572454</c:v>
                </c:pt>
                <c:pt idx="48">
                  <c:v>10.741164323284094</c:v>
                </c:pt>
                <c:pt idx="49">
                  <c:v>10.475709268178834</c:v>
                </c:pt>
                <c:pt idx="50">
                  <c:v>10.209836957752776</c:v>
                </c:pt>
                <c:pt idx="51">
                  <c:v>9.9497536268861424</c:v>
                </c:pt>
                <c:pt idx="52">
                  <c:v>9.6963525821013246</c:v>
                </c:pt>
                <c:pt idx="53">
                  <c:v>9.4505014377352197</c:v>
                </c:pt>
                <c:pt idx="54">
                  <c:v>9.2074583176597269</c:v>
                </c:pt>
                <c:pt idx="55">
                  <c:v>8.9683224890883331</c:v>
                </c:pt>
                <c:pt idx="56">
                  <c:v>8.7349117294696246</c:v>
                </c:pt>
                <c:pt idx="57">
                  <c:v>8.5057090688707397</c:v>
                </c:pt>
                <c:pt idx="58">
                  <c:v>8.2806190056725661</c:v>
                </c:pt>
                <c:pt idx="59">
                  <c:v>8.0591341191495971</c:v>
                </c:pt>
                <c:pt idx="60">
                  <c:v>7.846126652692563</c:v>
                </c:pt>
                <c:pt idx="61">
                  <c:v>7.6398504410844517</c:v>
                </c:pt>
                <c:pt idx="62">
                  <c:v>7.4367348527071639</c:v>
                </c:pt>
                <c:pt idx="63">
                  <c:v>7.240467289861984</c:v>
                </c:pt>
                <c:pt idx="64">
                  <c:v>7.046956710605607</c:v>
                </c:pt>
                <c:pt idx="65">
                  <c:v>6.8589060823568451</c:v>
                </c:pt>
                <c:pt idx="66">
                  <c:v>6.67679210941614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CD-4DD3-8379-D0E186E6DAB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1.066640743830078</c:v>
                </c:pt>
                <c:pt idx="27">
                  <c:v>20.155123269327849</c:v>
                </c:pt>
                <c:pt idx="28">
                  <c:v>19.328310237984237</c:v>
                </c:pt>
                <c:pt idx="29">
                  <c:v>18.568976396816701</c:v>
                </c:pt>
                <c:pt idx="30">
                  <c:v>17.888931293709049</c:v>
                </c:pt>
                <c:pt idx="31">
                  <c:v>17.303259509362451</c:v>
                </c:pt>
                <c:pt idx="32">
                  <c:v>16.789435560852169</c:v>
                </c:pt>
                <c:pt idx="33">
                  <c:v>16.348557622312217</c:v>
                </c:pt>
                <c:pt idx="34">
                  <c:v>15.955694014185765</c:v>
                </c:pt>
                <c:pt idx="35">
                  <c:v>15.607853485154283</c:v>
                </c:pt>
                <c:pt idx="36">
                  <c:v>15.30349769367184</c:v>
                </c:pt>
                <c:pt idx="37">
                  <c:v>15.044594562326919</c:v>
                </c:pt>
                <c:pt idx="38">
                  <c:v>14.825530338206502</c:v>
                </c:pt>
                <c:pt idx="39">
                  <c:v>14.628588260911249</c:v>
                </c:pt>
                <c:pt idx="40">
                  <c:v>14.460898009848661</c:v>
                </c:pt>
                <c:pt idx="41">
                  <c:v>14.30332245959092</c:v>
                </c:pt>
                <c:pt idx="42">
                  <c:v>14.156344134047281</c:v>
                </c:pt>
                <c:pt idx="43">
                  <c:v>14.017267044793826</c:v>
                </c:pt>
                <c:pt idx="44">
                  <c:v>13.887432923934279</c:v>
                </c:pt>
                <c:pt idx="45">
                  <c:v>13.768680364796921</c:v>
                </c:pt>
                <c:pt idx="46">
                  <c:v>13.655589918358501</c:v>
                </c:pt>
                <c:pt idx="47">
                  <c:v>13.54659649569423</c:v>
                </c:pt>
                <c:pt idx="48">
                  <c:v>13.437303658621902</c:v>
                </c:pt>
                <c:pt idx="49">
                  <c:v>13.330549191402614</c:v>
                </c:pt>
                <c:pt idx="50">
                  <c:v>13.22052576045775</c:v>
                </c:pt>
                <c:pt idx="51">
                  <c:v>13.112891482715231</c:v>
                </c:pt>
                <c:pt idx="52">
                  <c:v>13.008297041262097</c:v>
                </c:pt>
                <c:pt idx="53">
                  <c:v>12.907281379224603</c:v>
                </c:pt>
                <c:pt idx="54">
                  <c:v>12.804910423099049</c:v>
                </c:pt>
                <c:pt idx="55">
                  <c:v>12.702401824381338</c:v>
                </c:pt>
                <c:pt idx="56">
                  <c:v>12.601271796885266</c:v>
                </c:pt>
                <c:pt idx="57">
                  <c:v>12.499903640584742</c:v>
                </c:pt>
                <c:pt idx="58">
                  <c:v>12.398397471828851</c:v>
                </c:pt>
                <c:pt idx="59">
                  <c:v>12.295882524223552</c:v>
                </c:pt>
                <c:pt idx="60">
                  <c:v>12.197473866816061</c:v>
                </c:pt>
                <c:pt idx="61">
                  <c:v>12.101355631143228</c:v>
                </c:pt>
                <c:pt idx="62">
                  <c:v>12.004048580969117</c:v>
                </c:pt>
                <c:pt idx="63">
                  <c:v>11.90925459091336</c:v>
                </c:pt>
                <c:pt idx="64">
                  <c:v>11.81291071471361</c:v>
                </c:pt>
                <c:pt idx="65">
                  <c:v>11.717951729654384</c:v>
                </c:pt>
                <c:pt idx="66">
                  <c:v>11.6248091790158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6CD-4DD3-8379-D0E186E6DAB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1.090782910834736</c:v>
                </c:pt>
                <c:pt idx="27">
                  <c:v>20.224023613278685</c:v>
                </c:pt>
                <c:pt idx="28">
                  <c:v>19.457641832770598</c:v>
                </c:pt>
                <c:pt idx="29">
                  <c:v>18.770923318833749</c:v>
                </c:pt>
                <c:pt idx="30">
                  <c:v>18.180532834496578</c:v>
                </c:pt>
                <c:pt idx="31">
                  <c:v>17.705015989015514</c:v>
                </c:pt>
                <c:pt idx="32">
                  <c:v>17.325189578559261</c:v>
                </c:pt>
                <c:pt idx="33">
                  <c:v>17.044025665047162</c:v>
                </c:pt>
                <c:pt idx="34">
                  <c:v>16.832022745789658</c:v>
                </c:pt>
                <c:pt idx="35">
                  <c:v>16.683934891042689</c:v>
                </c:pt>
                <c:pt idx="36">
                  <c:v>16.598745083192561</c:v>
                </c:pt>
                <c:pt idx="37">
                  <c:v>16.580583380837989</c:v>
                </c:pt>
                <c:pt idx="38">
                  <c:v>16.623690615859708</c:v>
                </c:pt>
                <c:pt idx="39">
                  <c:v>16.708583446328241</c:v>
                </c:pt>
                <c:pt idx="40">
                  <c:v>16.839815807357002</c:v>
                </c:pt>
                <c:pt idx="41">
                  <c:v>16.996477250548125</c:v>
                </c:pt>
                <c:pt idx="42">
                  <c:v>17.178819484470324</c:v>
                </c:pt>
                <c:pt idx="43">
                  <c:v>17.384058591722006</c:v>
                </c:pt>
                <c:pt idx="44">
                  <c:v>17.613061013641584</c:v>
                </c:pt>
                <c:pt idx="45">
                  <c:v>17.866046289997563</c:v>
                </c:pt>
                <c:pt idx="46">
                  <c:v>18.136345531063451</c:v>
                </c:pt>
                <c:pt idx="47">
                  <c:v>18.421190428881587</c:v>
                </c:pt>
                <c:pt idx="48">
                  <c:v>18.71596618390052</c:v>
                </c:pt>
                <c:pt idx="49">
                  <c:v>19.023573087290917</c:v>
                </c:pt>
                <c:pt idx="50">
                  <c:v>19.337654560110529</c:v>
                </c:pt>
                <c:pt idx="51">
                  <c:v>19.663170669824616</c:v>
                </c:pt>
                <c:pt idx="52">
                  <c:v>19.999931372304001</c:v>
                </c:pt>
                <c:pt idx="53">
                  <c:v>20.348272453143927</c:v>
                </c:pt>
                <c:pt idx="54">
                  <c:v>20.70333211986885</c:v>
                </c:pt>
                <c:pt idx="55">
                  <c:v>21.066173835602029</c:v>
                </c:pt>
                <c:pt idx="56">
                  <c:v>21.43811041705079</c:v>
                </c:pt>
                <c:pt idx="57">
                  <c:v>21.817274912941592</c:v>
                </c:pt>
                <c:pt idx="58">
                  <c:v>22.203486727293065</c:v>
                </c:pt>
                <c:pt idx="59">
                  <c:v>22.596156109583454</c:v>
                </c:pt>
                <c:pt idx="60">
                  <c:v>23.000235415362777</c:v>
                </c:pt>
                <c:pt idx="61">
                  <c:v>23.413942381247161</c:v>
                </c:pt>
                <c:pt idx="62">
                  <c:v>23.833853836789547</c:v>
                </c:pt>
                <c:pt idx="63">
                  <c:v>24.263630943721786</c:v>
                </c:pt>
                <c:pt idx="64">
                  <c:v>24.699287703089105</c:v>
                </c:pt>
                <c:pt idx="65">
                  <c:v>25.143726732379296</c:v>
                </c:pt>
                <c:pt idx="66">
                  <c:v>25.5975826082781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6CD-4DD3-8379-D0E186E6DABE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9</c:v>
                </c:pt>
                <c:pt idx="1">
                  <c:v>79</c:v>
                </c:pt>
                <c:pt idx="2">
                  <c:v>79</c:v>
                </c:pt>
                <c:pt idx="3">
                  <c:v>79</c:v>
                </c:pt>
                <c:pt idx="4">
                  <c:v>79</c:v>
                </c:pt>
                <c:pt idx="5">
                  <c:v>79</c:v>
                </c:pt>
                <c:pt idx="6">
                  <c:v>79</c:v>
                </c:pt>
                <c:pt idx="7">
                  <c:v>79</c:v>
                </c:pt>
                <c:pt idx="8">
                  <c:v>79</c:v>
                </c:pt>
                <c:pt idx="9">
                  <c:v>79</c:v>
                </c:pt>
                <c:pt idx="10">
                  <c:v>79</c:v>
                </c:pt>
                <c:pt idx="11">
                  <c:v>79</c:v>
                </c:pt>
                <c:pt idx="12">
                  <c:v>79</c:v>
                </c:pt>
                <c:pt idx="13">
                  <c:v>79</c:v>
                </c:pt>
                <c:pt idx="14">
                  <c:v>79</c:v>
                </c:pt>
                <c:pt idx="15">
                  <c:v>79</c:v>
                </c:pt>
                <c:pt idx="16">
                  <c:v>79</c:v>
                </c:pt>
                <c:pt idx="17">
                  <c:v>79</c:v>
                </c:pt>
                <c:pt idx="18">
                  <c:v>79</c:v>
                </c:pt>
                <c:pt idx="19">
                  <c:v>79</c:v>
                </c:pt>
                <c:pt idx="20">
                  <c:v>79</c:v>
                </c:pt>
                <c:pt idx="21">
                  <c:v>79</c:v>
                </c:pt>
                <c:pt idx="22">
                  <c:v>79</c:v>
                </c:pt>
                <c:pt idx="23">
                  <c:v>79</c:v>
                </c:pt>
                <c:pt idx="24">
                  <c:v>79</c:v>
                </c:pt>
                <c:pt idx="25">
                  <c:v>79</c:v>
                </c:pt>
                <c:pt idx="26">
                  <c:v>79</c:v>
                </c:pt>
                <c:pt idx="27">
                  <c:v>79</c:v>
                </c:pt>
                <c:pt idx="28">
                  <c:v>79</c:v>
                </c:pt>
                <c:pt idx="29">
                  <c:v>79</c:v>
                </c:pt>
                <c:pt idx="30">
                  <c:v>79</c:v>
                </c:pt>
                <c:pt idx="31">
                  <c:v>79</c:v>
                </c:pt>
                <c:pt idx="32">
                  <c:v>79</c:v>
                </c:pt>
                <c:pt idx="33">
                  <c:v>79</c:v>
                </c:pt>
                <c:pt idx="34">
                  <c:v>79</c:v>
                </c:pt>
                <c:pt idx="35">
                  <c:v>79</c:v>
                </c:pt>
                <c:pt idx="36">
                  <c:v>79</c:v>
                </c:pt>
                <c:pt idx="37">
                  <c:v>79</c:v>
                </c:pt>
                <c:pt idx="38">
                  <c:v>79</c:v>
                </c:pt>
                <c:pt idx="39">
                  <c:v>79</c:v>
                </c:pt>
                <c:pt idx="40">
                  <c:v>79</c:v>
                </c:pt>
                <c:pt idx="41">
                  <c:v>79</c:v>
                </c:pt>
                <c:pt idx="42">
                  <c:v>79</c:v>
                </c:pt>
                <c:pt idx="43">
                  <c:v>79</c:v>
                </c:pt>
                <c:pt idx="44">
                  <c:v>79</c:v>
                </c:pt>
                <c:pt idx="45">
                  <c:v>79</c:v>
                </c:pt>
                <c:pt idx="46">
                  <c:v>79</c:v>
                </c:pt>
                <c:pt idx="47">
                  <c:v>79</c:v>
                </c:pt>
                <c:pt idx="48">
                  <c:v>79</c:v>
                </c:pt>
                <c:pt idx="49">
                  <c:v>79</c:v>
                </c:pt>
                <c:pt idx="50">
                  <c:v>79</c:v>
                </c:pt>
                <c:pt idx="51">
                  <c:v>79</c:v>
                </c:pt>
                <c:pt idx="52">
                  <c:v>79</c:v>
                </c:pt>
                <c:pt idx="53">
                  <c:v>79</c:v>
                </c:pt>
                <c:pt idx="54">
                  <c:v>79</c:v>
                </c:pt>
                <c:pt idx="55">
                  <c:v>79</c:v>
                </c:pt>
                <c:pt idx="56">
                  <c:v>79</c:v>
                </c:pt>
                <c:pt idx="57">
                  <c:v>79</c:v>
                </c:pt>
                <c:pt idx="58">
                  <c:v>79</c:v>
                </c:pt>
                <c:pt idx="59">
                  <c:v>79</c:v>
                </c:pt>
                <c:pt idx="60">
                  <c:v>79</c:v>
                </c:pt>
                <c:pt idx="61">
                  <c:v>79</c:v>
                </c:pt>
                <c:pt idx="62">
                  <c:v>79</c:v>
                </c:pt>
                <c:pt idx="63">
                  <c:v>79</c:v>
                </c:pt>
                <c:pt idx="64">
                  <c:v>79</c:v>
                </c:pt>
                <c:pt idx="65">
                  <c:v>79</c:v>
                </c:pt>
                <c:pt idx="66">
                  <c:v>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2</c:v>
                </c:pt>
                <c:pt idx="1">
                  <c:v>31</c:v>
                </c:pt>
                <c:pt idx="2">
                  <c:v>27</c:v>
                </c:pt>
                <c:pt idx="3">
                  <c:v>26</c:v>
                </c:pt>
                <c:pt idx="4">
                  <c:v>27</c:v>
                </c:pt>
                <c:pt idx="5">
                  <c:v>30</c:v>
                </c:pt>
                <c:pt idx="6">
                  <c:v>28</c:v>
                </c:pt>
                <c:pt idx="7">
                  <c:v>33</c:v>
                </c:pt>
                <c:pt idx="8">
                  <c:v>28</c:v>
                </c:pt>
                <c:pt idx="9">
                  <c:v>30</c:v>
                </c:pt>
                <c:pt idx="10">
                  <c:v>26</c:v>
                </c:pt>
                <c:pt idx="11">
                  <c:v>27</c:v>
                </c:pt>
                <c:pt idx="12">
                  <c:v>25</c:v>
                </c:pt>
                <c:pt idx="13">
                  <c:v>29</c:v>
                </c:pt>
                <c:pt idx="14">
                  <c:v>30</c:v>
                </c:pt>
                <c:pt idx="15">
                  <c:v>29</c:v>
                </c:pt>
                <c:pt idx="16">
                  <c:v>28</c:v>
                </c:pt>
                <c:pt idx="17">
                  <c:v>28</c:v>
                </c:pt>
                <c:pt idx="18">
                  <c:v>30</c:v>
                </c:pt>
                <c:pt idx="19">
                  <c:v>29</c:v>
                </c:pt>
                <c:pt idx="20">
                  <c:v>29</c:v>
                </c:pt>
                <c:pt idx="21">
                  <c:v>26</c:v>
                </c:pt>
                <c:pt idx="22">
                  <c:v>25</c:v>
                </c:pt>
                <c:pt idx="23">
                  <c:v>26</c:v>
                </c:pt>
                <c:pt idx="24">
                  <c:v>27</c:v>
                </c:pt>
                <c:pt idx="25">
                  <c:v>24</c:v>
                </c:pt>
                <c:pt idx="26">
                  <c:v>27</c:v>
                </c:pt>
                <c:pt idx="27">
                  <c:v>24</c:v>
                </c:pt>
                <c:pt idx="28">
                  <c:v>25</c:v>
                </c:pt>
                <c:pt idx="29">
                  <c:v>19</c:v>
                </c:pt>
                <c:pt idx="30">
                  <c:v>19</c:v>
                </c:pt>
                <c:pt idx="31">
                  <c:v>22</c:v>
                </c:pt>
                <c:pt idx="32">
                  <c:v>21</c:v>
                </c:pt>
                <c:pt idx="33">
                  <c:v>17</c:v>
                </c:pt>
                <c:pt idx="34">
                  <c:v>15</c:v>
                </c:pt>
                <c:pt idx="35">
                  <c:v>10</c:v>
                </c:pt>
                <c:pt idx="36">
                  <c:v>10</c:v>
                </c:pt>
                <c:pt idx="37">
                  <c:v>10</c:v>
                </c:pt>
                <c:pt idx="38">
                  <c:v>10</c:v>
                </c:pt>
                <c:pt idx="39">
                  <c:v>11</c:v>
                </c:pt>
                <c:pt idx="40">
                  <c:v>10</c:v>
                </c:pt>
                <c:pt idx="41">
                  <c:v>11</c:v>
                </c:pt>
                <c:pt idx="42">
                  <c:v>11</c:v>
                </c:pt>
                <c:pt idx="43">
                  <c:v>10</c:v>
                </c:pt>
                <c:pt idx="44">
                  <c:v>13</c:v>
                </c:pt>
                <c:pt idx="45">
                  <c:v>12</c:v>
                </c:pt>
                <c:pt idx="46">
                  <c:v>12</c:v>
                </c:pt>
                <c:pt idx="47">
                  <c:v>12</c:v>
                </c:pt>
                <c:pt idx="48">
                  <c:v>11</c:v>
                </c:pt>
                <c:pt idx="49">
                  <c:v>7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6</c:v>
                </c:pt>
                <c:pt idx="54">
                  <c:v>5</c:v>
                </c:pt>
                <c:pt idx="55">
                  <c:v>6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5.94852917669251</c:v>
                </c:pt>
                <c:pt idx="27">
                  <c:v>24.783487265047956</c:v>
                </c:pt>
                <c:pt idx="28">
                  <c:v>23.700506632629491</c:v>
                </c:pt>
                <c:pt idx="29">
                  <c:v>22.66937259209157</c:v>
                </c:pt>
                <c:pt idx="30">
                  <c:v>21.707411449488955</c:v>
                </c:pt>
                <c:pt idx="31">
                  <c:v>20.833367375313724</c:v>
                </c:pt>
                <c:pt idx="32">
                  <c:v>20.011446697503391</c:v>
                </c:pt>
                <c:pt idx="33">
                  <c:v>19.246029308030035</c:v>
                </c:pt>
                <c:pt idx="34">
                  <c:v>18.515380166849575</c:v>
                </c:pt>
                <c:pt idx="35">
                  <c:v>17.822597338109475</c:v>
                </c:pt>
                <c:pt idx="36">
                  <c:v>17.157415261457089</c:v>
                </c:pt>
                <c:pt idx="37">
                  <c:v>16.530245598699796</c:v>
                </c:pt>
                <c:pt idx="38">
                  <c:v>15.932531277822342</c:v>
                </c:pt>
                <c:pt idx="39">
                  <c:v>15.346558598842234</c:v>
                </c:pt>
                <c:pt idx="40">
                  <c:v>14.78869150808173</c:v>
                </c:pt>
                <c:pt idx="41">
                  <c:v>14.238535559709268</c:v>
                </c:pt>
                <c:pt idx="42">
                  <c:v>13.699694515576002</c:v>
                </c:pt>
                <c:pt idx="43">
                  <c:v>13.168578432640675</c:v>
                </c:pt>
                <c:pt idx="44">
                  <c:v>12.650766152283175</c:v>
                </c:pt>
                <c:pt idx="45">
                  <c:v>12.146568351266616</c:v>
                </c:pt>
                <c:pt idx="46">
                  <c:v>11.65604895898397</c:v>
                </c:pt>
                <c:pt idx="47">
                  <c:v>11.178960665059192</c:v>
                </c:pt>
                <c:pt idx="48">
                  <c:v>10.710879262326173</c:v>
                </c:pt>
                <c:pt idx="49">
                  <c:v>10.257100398722859</c:v>
                </c:pt>
                <c:pt idx="50">
                  <c:v>9.8100235691396609</c:v>
                </c:pt>
                <c:pt idx="51">
                  <c:v>9.3771716041482094</c:v>
                </c:pt>
                <c:pt idx="52">
                  <c:v>8.9596682713751346</c:v>
                </c:pt>
                <c:pt idx="53">
                  <c:v>8.5586387477251726</c:v>
                </c:pt>
                <c:pt idx="54">
                  <c:v>8.168230278376635</c:v>
                </c:pt>
                <c:pt idx="55">
                  <c:v>7.7919404354352331</c:v>
                </c:pt>
                <c:pt idx="56">
                  <c:v>7.4300320042500498</c:v>
                </c:pt>
                <c:pt idx="57">
                  <c:v>7.0810176639841345</c:v>
                </c:pt>
                <c:pt idx="58">
                  <c:v>6.7441609640507556</c:v>
                </c:pt>
                <c:pt idx="59">
                  <c:v>6.4196533188739338</c:v>
                </c:pt>
                <c:pt idx="60">
                  <c:v>6.1116550849075884</c:v>
                </c:pt>
                <c:pt idx="61">
                  <c:v>5.8174731279675544</c:v>
                </c:pt>
                <c:pt idx="62">
                  <c:v>5.5344806373147639</c:v>
                </c:pt>
                <c:pt idx="63">
                  <c:v>5.2659387612886182</c:v>
                </c:pt>
                <c:pt idx="64">
                  <c:v>5.0057142914545851</c:v>
                </c:pt>
                <c:pt idx="65">
                  <c:v>4.7578571583462779</c:v>
                </c:pt>
                <c:pt idx="66">
                  <c:v>4.52227630608912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10-4D34-AA39-FEFBA0D267A4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5.968538600313032</c:v>
                </c:pt>
                <c:pt idx="27">
                  <c:v>24.840258953381294</c:v>
                </c:pt>
                <c:pt idx="28">
                  <c:v>23.807095961637021</c:v>
                </c:pt>
                <c:pt idx="29">
                  <c:v>22.836010989459016</c:v>
                </c:pt>
                <c:pt idx="30">
                  <c:v>21.946076873937638</c:v>
                </c:pt>
                <c:pt idx="31">
                  <c:v>21.157175455044936</c:v>
                </c:pt>
                <c:pt idx="32">
                  <c:v>20.434928428118191</c:v>
                </c:pt>
                <c:pt idx="33">
                  <c:v>19.784159215706602</c:v>
                </c:pt>
                <c:pt idx="34">
                  <c:v>19.179619593823332</c:v>
                </c:pt>
                <c:pt idx="35">
                  <c:v>18.622041898377343</c:v>
                </c:pt>
                <c:pt idx="36">
                  <c:v>18.099733919308953</c:v>
                </c:pt>
                <c:pt idx="37">
                  <c:v>17.622430873690316</c:v>
                </c:pt>
                <c:pt idx="38">
                  <c:v>17.180318300472894</c:v>
                </c:pt>
                <c:pt idx="39">
                  <c:v>16.753832011399336</c:v>
                </c:pt>
                <c:pt idx="40">
                  <c:v>16.356924178751061</c:v>
                </c:pt>
                <c:pt idx="41">
                  <c:v>15.967076796628655</c:v>
                </c:pt>
                <c:pt idx="42">
                  <c:v>15.586801938997436</c:v>
                </c:pt>
                <c:pt idx="43">
                  <c:v>15.211272665297889</c:v>
                </c:pt>
                <c:pt idx="44">
                  <c:v>14.844974582688488</c:v>
                </c:pt>
                <c:pt idx="45">
                  <c:v>14.487138203952664</c:v>
                </c:pt>
                <c:pt idx="46">
                  <c:v>14.137221387925626</c:v>
                </c:pt>
                <c:pt idx="47">
                  <c:v>13.794078335327768</c:v>
                </c:pt>
                <c:pt idx="48">
                  <c:v>13.452449931217942</c:v>
                </c:pt>
                <c:pt idx="49">
                  <c:v>13.117609193299906</c:v>
                </c:pt>
                <c:pt idx="50">
                  <c:v>12.781458775748714</c:v>
                </c:pt>
                <c:pt idx="51">
                  <c:v>12.45143776935101</c:v>
                </c:pt>
                <c:pt idx="52">
                  <c:v>12.128586638105102</c:v>
                </c:pt>
                <c:pt idx="53">
                  <c:v>11.814049171312181</c:v>
                </c:pt>
                <c:pt idx="54">
                  <c:v>11.502009598262173</c:v>
                </c:pt>
                <c:pt idx="55">
                  <c:v>11.196132406705718</c:v>
                </c:pt>
                <c:pt idx="56">
                  <c:v>10.896796069883578</c:v>
                </c:pt>
                <c:pt idx="57">
                  <c:v>10.602826115143396</c:v>
                </c:pt>
                <c:pt idx="58">
                  <c:v>10.313710394408824</c:v>
                </c:pt>
                <c:pt idx="59">
                  <c:v>10.029964791618504</c:v>
                </c:pt>
                <c:pt idx="60">
                  <c:v>9.7559512097560148</c:v>
                </c:pt>
                <c:pt idx="61">
                  <c:v>9.4894937630593592</c:v>
                </c:pt>
                <c:pt idx="62">
                  <c:v>9.2280738959270927</c:v>
                </c:pt>
                <c:pt idx="63">
                  <c:v>8.9754197500514543</c:v>
                </c:pt>
                <c:pt idx="64">
                  <c:v>8.7256397048607663</c:v>
                </c:pt>
                <c:pt idx="65">
                  <c:v>8.4831089488314699</c:v>
                </c:pt>
                <c:pt idx="66">
                  <c:v>8.24793305697503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10-4D34-AA39-FEFBA0D267A4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5.988396437390968</c:v>
                </c:pt>
                <c:pt idx="27">
                  <c:v>24.896834823277906</c:v>
                </c:pt>
                <c:pt idx="28">
                  <c:v>23.913459481265228</c:v>
                </c:pt>
                <c:pt idx="29">
                  <c:v>23.002397313116553</c:v>
                </c:pt>
                <c:pt idx="30">
                  <c:v>22.185376452126867</c:v>
                </c:pt>
                <c:pt idx="31">
                  <c:v>21.484290878447453</c:v>
                </c:pt>
                <c:pt idx="32">
                  <c:v>20.866981621173533</c:v>
                </c:pt>
                <c:pt idx="33">
                  <c:v>20.339134894045614</c:v>
                </c:pt>
                <c:pt idx="34">
                  <c:v>19.871870381263456</c:v>
                </c:pt>
                <c:pt idx="35">
                  <c:v>19.463544539240946</c:v>
                </c:pt>
                <c:pt idx="36">
                  <c:v>19.10207037370629</c:v>
                </c:pt>
                <c:pt idx="37">
                  <c:v>18.797478262762173</c:v>
                </c:pt>
                <c:pt idx="38">
                  <c:v>18.538784647650044</c:v>
                </c:pt>
                <c:pt idx="39">
                  <c:v>18.304589666980192</c:v>
                </c:pt>
                <c:pt idx="40">
                  <c:v>18.106938220089742</c:v>
                </c:pt>
                <c:pt idx="41">
                  <c:v>17.921143916503294</c:v>
                </c:pt>
                <c:pt idx="42">
                  <c:v>17.748322791367016</c:v>
                </c:pt>
                <c:pt idx="43">
                  <c:v>17.582883120714857</c:v>
                </c:pt>
                <c:pt idx="44">
                  <c:v>17.428639346762353</c:v>
                </c:pt>
                <c:pt idx="45">
                  <c:v>17.283427534911446</c:v>
                </c:pt>
                <c:pt idx="46">
                  <c:v>17.145179624420408</c:v>
                </c:pt>
                <c:pt idx="47">
                  <c:v>17.011735961225892</c:v>
                </c:pt>
                <c:pt idx="48">
                  <c:v>16.877444235321697</c:v>
                </c:pt>
                <c:pt idx="49">
                  <c:v>16.746699993883261</c:v>
                </c:pt>
                <c:pt idx="50">
                  <c:v>16.611135176289302</c:v>
                </c:pt>
                <c:pt idx="51">
                  <c:v>16.47746449966067</c:v>
                </c:pt>
                <c:pt idx="52">
                  <c:v>16.346393579321862</c:v>
                </c:pt>
                <c:pt idx="53">
                  <c:v>16.21862984141368</c:v>
                </c:pt>
                <c:pt idx="54">
                  <c:v>16.088093288016204</c:v>
                </c:pt>
                <c:pt idx="55">
                  <c:v>15.958589288425063</c:v>
                </c:pt>
                <c:pt idx="56">
                  <c:v>15.830114323456669</c:v>
                </c:pt>
                <c:pt idx="57">
                  <c:v>15.701352390829509</c:v>
                </c:pt>
                <c:pt idx="58">
                  <c:v>15.572014452049324</c:v>
                </c:pt>
                <c:pt idx="59">
                  <c:v>15.442148195207249</c:v>
                </c:pt>
                <c:pt idx="60">
                  <c:v>15.316417506446403</c:v>
                </c:pt>
                <c:pt idx="61">
                  <c:v>15.192555720425011</c:v>
                </c:pt>
                <c:pt idx="62">
                  <c:v>15.068163422708704</c:v>
                </c:pt>
                <c:pt idx="63">
                  <c:v>14.946982450094701</c:v>
                </c:pt>
                <c:pt idx="64">
                  <c:v>14.823150252538117</c:v>
                </c:pt>
                <c:pt idx="65">
                  <c:v>14.70132157210044</c:v>
                </c:pt>
                <c:pt idx="66">
                  <c:v>14.5815493305683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10-4D34-AA39-FEFBA0D267A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6.018258986279164</c:v>
                </c:pt>
                <c:pt idx="27">
                  <c:v>24.981948123883775</c:v>
                </c:pt>
                <c:pt idx="28">
                  <c:v>24.073389277105214</c:v>
                </c:pt>
                <c:pt idx="29">
                  <c:v>23.252426554055496</c:v>
                </c:pt>
                <c:pt idx="30">
                  <c:v>22.546874898892568</c:v>
                </c:pt>
                <c:pt idx="31">
                  <c:v>21.983082003265835</c:v>
                </c:pt>
                <c:pt idx="32">
                  <c:v>21.533322286807923</c:v>
                </c:pt>
                <c:pt idx="33">
                  <c:v>21.205684916334505</c:v>
                </c:pt>
                <c:pt idx="34">
                  <c:v>20.965683556722059</c:v>
                </c:pt>
                <c:pt idx="35">
                  <c:v>20.809080087072303</c:v>
                </c:pt>
                <c:pt idx="36">
                  <c:v>20.724424130924351</c:v>
                </c:pt>
                <c:pt idx="37">
                  <c:v>20.724294261820678</c:v>
                </c:pt>
                <c:pt idx="38">
                  <c:v>20.79759319835026</c:v>
                </c:pt>
                <c:pt idx="39">
                  <c:v>20.92072649819875</c:v>
                </c:pt>
                <c:pt idx="40">
                  <c:v>21.10262624027056</c:v>
                </c:pt>
                <c:pt idx="41">
                  <c:v>21.316262560455456</c:v>
                </c:pt>
                <c:pt idx="42">
                  <c:v>21.562415507592771</c:v>
                </c:pt>
                <c:pt idx="43">
                  <c:v>21.835358598644877</c:v>
                </c:pt>
                <c:pt idx="44">
                  <c:v>22.138291548586906</c:v>
                </c:pt>
                <c:pt idx="45">
                  <c:v>22.467050734633737</c:v>
                </c:pt>
                <c:pt idx="46">
                  <c:v>22.817967904845688</c:v>
                </c:pt>
                <c:pt idx="47">
                  <c:v>23.187338577129236</c:v>
                </c:pt>
                <c:pt idx="48">
                  <c:v>23.569198048014229</c:v>
                </c:pt>
                <c:pt idx="49">
                  <c:v>23.968000131341967</c:v>
                </c:pt>
                <c:pt idx="50">
                  <c:v>24.374647849783361</c:v>
                </c:pt>
                <c:pt idx="51">
                  <c:v>24.794956742659053</c:v>
                </c:pt>
                <c:pt idx="52">
                  <c:v>25.228549169489675</c:v>
                </c:pt>
                <c:pt idx="53">
                  <c:v>25.675843908787119</c:v>
                </c:pt>
                <c:pt idx="54">
                  <c:v>26.130813803517569</c:v>
                </c:pt>
                <c:pt idx="55">
                  <c:v>26.597083739838549</c:v>
                </c:pt>
                <c:pt idx="56">
                  <c:v>27.07439482564002</c:v>
                </c:pt>
                <c:pt idx="57">
                  <c:v>27.561085074007138</c:v>
                </c:pt>
                <c:pt idx="58">
                  <c:v>28.056497299868813</c:v>
                </c:pt>
                <c:pt idx="59">
                  <c:v>28.56100168560517</c:v>
                </c:pt>
                <c:pt idx="60">
                  <c:v>29.079056829751039</c:v>
                </c:pt>
                <c:pt idx="61">
                  <c:v>29.608441722632097</c:v>
                </c:pt>
                <c:pt idx="62">
                  <c:v>30.14682754108037</c:v>
                </c:pt>
                <c:pt idx="63">
                  <c:v>30.697906289224502</c:v>
                </c:pt>
                <c:pt idx="64">
                  <c:v>31.255891492792536</c:v>
                </c:pt>
                <c:pt idx="65">
                  <c:v>31.825393041111916</c:v>
                </c:pt>
                <c:pt idx="66">
                  <c:v>32.406720480201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10-4D34-AA39-FEFBA0D267A4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5</c:v>
                </c:pt>
                <c:pt idx="1">
                  <c:v>55</c:v>
                </c:pt>
                <c:pt idx="2">
                  <c:v>55</c:v>
                </c:pt>
                <c:pt idx="3">
                  <c:v>55</c:v>
                </c:pt>
                <c:pt idx="4">
                  <c:v>55</c:v>
                </c:pt>
                <c:pt idx="5">
                  <c:v>55</c:v>
                </c:pt>
                <c:pt idx="6">
                  <c:v>55</c:v>
                </c:pt>
                <c:pt idx="7">
                  <c:v>55</c:v>
                </c:pt>
                <c:pt idx="8">
                  <c:v>55</c:v>
                </c:pt>
                <c:pt idx="9">
                  <c:v>55</c:v>
                </c:pt>
                <c:pt idx="10">
                  <c:v>55</c:v>
                </c:pt>
                <c:pt idx="11">
                  <c:v>55</c:v>
                </c:pt>
                <c:pt idx="12">
                  <c:v>55</c:v>
                </c:pt>
                <c:pt idx="13">
                  <c:v>55</c:v>
                </c:pt>
                <c:pt idx="14">
                  <c:v>55</c:v>
                </c:pt>
                <c:pt idx="15">
                  <c:v>55</c:v>
                </c:pt>
                <c:pt idx="16">
                  <c:v>55</c:v>
                </c:pt>
                <c:pt idx="17">
                  <c:v>55</c:v>
                </c:pt>
                <c:pt idx="18">
                  <c:v>55</c:v>
                </c:pt>
                <c:pt idx="19">
                  <c:v>55</c:v>
                </c:pt>
                <c:pt idx="20">
                  <c:v>55</c:v>
                </c:pt>
                <c:pt idx="21">
                  <c:v>55</c:v>
                </c:pt>
                <c:pt idx="22">
                  <c:v>55</c:v>
                </c:pt>
                <c:pt idx="23">
                  <c:v>55</c:v>
                </c:pt>
                <c:pt idx="24">
                  <c:v>55</c:v>
                </c:pt>
                <c:pt idx="25">
                  <c:v>55</c:v>
                </c:pt>
                <c:pt idx="26">
                  <c:v>55</c:v>
                </c:pt>
                <c:pt idx="27">
                  <c:v>55</c:v>
                </c:pt>
                <c:pt idx="28">
                  <c:v>55</c:v>
                </c:pt>
                <c:pt idx="29">
                  <c:v>55</c:v>
                </c:pt>
                <c:pt idx="30">
                  <c:v>55</c:v>
                </c:pt>
                <c:pt idx="31">
                  <c:v>55</c:v>
                </c:pt>
                <c:pt idx="32">
                  <c:v>55</c:v>
                </c:pt>
                <c:pt idx="33">
                  <c:v>55</c:v>
                </c:pt>
                <c:pt idx="34">
                  <c:v>55</c:v>
                </c:pt>
                <c:pt idx="35">
                  <c:v>55</c:v>
                </c:pt>
                <c:pt idx="36">
                  <c:v>55</c:v>
                </c:pt>
                <c:pt idx="37">
                  <c:v>55</c:v>
                </c:pt>
                <c:pt idx="38">
                  <c:v>55</c:v>
                </c:pt>
                <c:pt idx="39">
                  <c:v>55</c:v>
                </c:pt>
                <c:pt idx="40">
                  <c:v>55</c:v>
                </c:pt>
                <c:pt idx="41">
                  <c:v>55</c:v>
                </c:pt>
                <c:pt idx="42">
                  <c:v>55</c:v>
                </c:pt>
                <c:pt idx="43">
                  <c:v>55</c:v>
                </c:pt>
                <c:pt idx="44">
                  <c:v>55</c:v>
                </c:pt>
                <c:pt idx="45">
                  <c:v>55</c:v>
                </c:pt>
                <c:pt idx="46">
                  <c:v>55</c:v>
                </c:pt>
                <c:pt idx="47">
                  <c:v>55</c:v>
                </c:pt>
                <c:pt idx="48">
                  <c:v>55</c:v>
                </c:pt>
                <c:pt idx="49">
                  <c:v>55</c:v>
                </c:pt>
                <c:pt idx="50">
                  <c:v>55</c:v>
                </c:pt>
                <c:pt idx="51">
                  <c:v>55</c:v>
                </c:pt>
                <c:pt idx="52">
                  <c:v>55</c:v>
                </c:pt>
                <c:pt idx="53">
                  <c:v>55</c:v>
                </c:pt>
                <c:pt idx="54">
                  <c:v>55</c:v>
                </c:pt>
                <c:pt idx="55">
                  <c:v>55</c:v>
                </c:pt>
                <c:pt idx="56">
                  <c:v>55</c:v>
                </c:pt>
                <c:pt idx="57">
                  <c:v>55</c:v>
                </c:pt>
                <c:pt idx="58">
                  <c:v>55</c:v>
                </c:pt>
                <c:pt idx="59">
                  <c:v>55</c:v>
                </c:pt>
                <c:pt idx="60">
                  <c:v>55</c:v>
                </c:pt>
                <c:pt idx="61">
                  <c:v>55</c:v>
                </c:pt>
                <c:pt idx="62">
                  <c:v>55</c:v>
                </c:pt>
                <c:pt idx="63">
                  <c:v>55</c:v>
                </c:pt>
                <c:pt idx="64">
                  <c:v>55</c:v>
                </c:pt>
                <c:pt idx="65">
                  <c:v>55</c:v>
                </c:pt>
                <c:pt idx="66">
                  <c:v>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13</c:v>
                </c:pt>
                <c:pt idx="1">
                  <c:v>196</c:v>
                </c:pt>
                <c:pt idx="2">
                  <c:v>185</c:v>
                </c:pt>
                <c:pt idx="3">
                  <c:v>189</c:v>
                </c:pt>
                <c:pt idx="4">
                  <c:v>183</c:v>
                </c:pt>
                <c:pt idx="5">
                  <c:v>195</c:v>
                </c:pt>
                <c:pt idx="6">
                  <c:v>194</c:v>
                </c:pt>
                <c:pt idx="7">
                  <c:v>185</c:v>
                </c:pt>
                <c:pt idx="8">
                  <c:v>170</c:v>
                </c:pt>
                <c:pt idx="9">
                  <c:v>172</c:v>
                </c:pt>
                <c:pt idx="10">
                  <c:v>169</c:v>
                </c:pt>
                <c:pt idx="11">
                  <c:v>162</c:v>
                </c:pt>
                <c:pt idx="12">
                  <c:v>150</c:v>
                </c:pt>
                <c:pt idx="13">
                  <c:v>139</c:v>
                </c:pt>
                <c:pt idx="14">
                  <c:v>133</c:v>
                </c:pt>
                <c:pt idx="15">
                  <c:v>132</c:v>
                </c:pt>
                <c:pt idx="16">
                  <c:v>135</c:v>
                </c:pt>
                <c:pt idx="17">
                  <c:v>135</c:v>
                </c:pt>
                <c:pt idx="18">
                  <c:v>141</c:v>
                </c:pt>
                <c:pt idx="19">
                  <c:v>135</c:v>
                </c:pt>
                <c:pt idx="20">
                  <c:v>123</c:v>
                </c:pt>
                <c:pt idx="21">
                  <c:v>127</c:v>
                </c:pt>
                <c:pt idx="22">
                  <c:v>122</c:v>
                </c:pt>
                <c:pt idx="23">
                  <c:v>116</c:v>
                </c:pt>
                <c:pt idx="24">
                  <c:v>112</c:v>
                </c:pt>
                <c:pt idx="25">
                  <c:v>112</c:v>
                </c:pt>
                <c:pt idx="26">
                  <c:v>106</c:v>
                </c:pt>
                <c:pt idx="27">
                  <c:v>102</c:v>
                </c:pt>
                <c:pt idx="28">
                  <c:v>94</c:v>
                </c:pt>
                <c:pt idx="29">
                  <c:v>90</c:v>
                </c:pt>
                <c:pt idx="30">
                  <c:v>84</c:v>
                </c:pt>
                <c:pt idx="31">
                  <c:v>87</c:v>
                </c:pt>
                <c:pt idx="32">
                  <c:v>84</c:v>
                </c:pt>
                <c:pt idx="33">
                  <c:v>81</c:v>
                </c:pt>
                <c:pt idx="34">
                  <c:v>80</c:v>
                </c:pt>
                <c:pt idx="35">
                  <c:v>83</c:v>
                </c:pt>
                <c:pt idx="36">
                  <c:v>80</c:v>
                </c:pt>
                <c:pt idx="37">
                  <c:v>75</c:v>
                </c:pt>
                <c:pt idx="38">
                  <c:v>79</c:v>
                </c:pt>
                <c:pt idx="39">
                  <c:v>84</c:v>
                </c:pt>
                <c:pt idx="40">
                  <c:v>76</c:v>
                </c:pt>
                <c:pt idx="41">
                  <c:v>69</c:v>
                </c:pt>
                <c:pt idx="42">
                  <c:v>66</c:v>
                </c:pt>
                <c:pt idx="43">
                  <c:v>60</c:v>
                </c:pt>
                <c:pt idx="44">
                  <c:v>52</c:v>
                </c:pt>
                <c:pt idx="45">
                  <c:v>50</c:v>
                </c:pt>
                <c:pt idx="46">
                  <c:v>48</c:v>
                </c:pt>
                <c:pt idx="47">
                  <c:v>45</c:v>
                </c:pt>
                <c:pt idx="48">
                  <c:v>40</c:v>
                </c:pt>
                <c:pt idx="49">
                  <c:v>39</c:v>
                </c:pt>
                <c:pt idx="50">
                  <c:v>33</c:v>
                </c:pt>
                <c:pt idx="51">
                  <c:v>30</c:v>
                </c:pt>
                <c:pt idx="52">
                  <c:v>31</c:v>
                </c:pt>
                <c:pt idx="53">
                  <c:v>28</c:v>
                </c:pt>
                <c:pt idx="54">
                  <c:v>26</c:v>
                </c:pt>
                <c:pt idx="55">
                  <c:v>27</c:v>
                </c:pt>
                <c:pt idx="56">
                  <c:v>30</c:v>
                </c:pt>
                <c:pt idx="57">
                  <c:v>25</c:v>
                </c:pt>
                <c:pt idx="58">
                  <c:v>24</c:v>
                </c:pt>
                <c:pt idx="59">
                  <c:v>24</c:v>
                </c:pt>
                <c:pt idx="60">
                  <c:v>23</c:v>
                </c:pt>
                <c:pt idx="61">
                  <c:v>18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07.37833175111925</c:v>
                </c:pt>
                <c:pt idx="27">
                  <c:v>102.61724052157346</c:v>
                </c:pt>
                <c:pt idx="28">
                  <c:v>98.201907302590541</c:v>
                </c:pt>
                <c:pt idx="29">
                  <c:v>93.980551890270377</c:v>
                </c:pt>
                <c:pt idx="30">
                  <c:v>90.037723596025884</c:v>
                </c:pt>
                <c:pt idx="31">
                  <c:v>86.456526649882989</c:v>
                </c:pt>
                <c:pt idx="32">
                  <c:v>83.080161051397596</c:v>
                </c:pt>
                <c:pt idx="33">
                  <c:v>79.934490963447942</c:v>
                </c:pt>
                <c:pt idx="34">
                  <c:v>76.932980220991993</c:v>
                </c:pt>
                <c:pt idx="35">
                  <c:v>74.091857426098301</c:v>
                </c:pt>
                <c:pt idx="36">
                  <c:v>71.350195888888322</c:v>
                </c:pt>
                <c:pt idx="37">
                  <c:v>68.765416259440073</c:v>
                </c:pt>
                <c:pt idx="38">
                  <c:v>66.294696527438006</c:v>
                </c:pt>
                <c:pt idx="39">
                  <c:v>63.865790793783091</c:v>
                </c:pt>
                <c:pt idx="40">
                  <c:v>61.552327902415172</c:v>
                </c:pt>
                <c:pt idx="41">
                  <c:v>59.268436790782275</c:v>
                </c:pt>
                <c:pt idx="42">
                  <c:v>57.030233527922022</c:v>
                </c:pt>
                <c:pt idx="43">
                  <c:v>54.818897404611327</c:v>
                </c:pt>
                <c:pt idx="44">
                  <c:v>52.661653496858783</c:v>
                </c:pt>
                <c:pt idx="45">
                  <c:v>50.551796890753764</c:v>
                </c:pt>
                <c:pt idx="46">
                  <c:v>48.498240770512254</c:v>
                </c:pt>
                <c:pt idx="47">
                  <c:v>46.49975414422164</c:v>
                </c:pt>
                <c:pt idx="48">
                  <c:v>44.537758077027789</c:v>
                </c:pt>
                <c:pt idx="49">
                  <c:v>42.635902049669561</c:v>
                </c:pt>
                <c:pt idx="50">
                  <c:v>40.760711550702936</c:v>
                </c:pt>
                <c:pt idx="51">
                  <c:v>38.942968203657841</c:v>
                </c:pt>
                <c:pt idx="52">
                  <c:v>37.18726478371606</c:v>
                </c:pt>
                <c:pt idx="53">
                  <c:v>35.498433309884412</c:v>
                </c:pt>
                <c:pt idx="54">
                  <c:v>33.852350432175562</c:v>
                </c:pt>
                <c:pt idx="55">
                  <c:v>32.26768170399896</c:v>
                </c:pt>
                <c:pt idx="56">
                  <c:v>30.74210728483078</c:v>
                </c:pt>
                <c:pt idx="57">
                  <c:v>29.270771099546728</c:v>
                </c:pt>
                <c:pt idx="58">
                  <c:v>27.84990857226525</c:v>
                </c:pt>
                <c:pt idx="59">
                  <c:v>26.482403741420697</c:v>
                </c:pt>
                <c:pt idx="60">
                  <c:v>25.182449111062695</c:v>
                </c:pt>
                <c:pt idx="61">
                  <c:v>23.938834807990208</c:v>
                </c:pt>
                <c:pt idx="62">
                  <c:v>22.744120045284163</c:v>
                </c:pt>
                <c:pt idx="63">
                  <c:v>21.610266878577541</c:v>
                </c:pt>
                <c:pt idx="64">
                  <c:v>20.510353592452219</c:v>
                </c:pt>
                <c:pt idx="65">
                  <c:v>19.463020010200477</c:v>
                </c:pt>
                <c:pt idx="66">
                  <c:v>18.4669835467193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89-48EC-BA33-19A27E736BC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07.46123145357983</c:v>
                </c:pt>
                <c:pt idx="27">
                  <c:v>102.85231000524989</c:v>
                </c:pt>
                <c:pt idx="28">
                  <c:v>98.643455618233517</c:v>
                </c:pt>
                <c:pt idx="29">
                  <c:v>94.671222797177734</c:v>
                </c:pt>
                <c:pt idx="30">
                  <c:v>91.027498118538489</c:v>
                </c:pt>
                <c:pt idx="31">
                  <c:v>87.800325276894569</c:v>
                </c:pt>
                <c:pt idx="32">
                  <c:v>84.839104402576368</c:v>
                </c:pt>
                <c:pt idx="33">
                  <c:v>82.171611745243453</c:v>
                </c:pt>
                <c:pt idx="34">
                  <c:v>79.69677306781503</c:v>
                </c:pt>
                <c:pt idx="35">
                  <c:v>77.421176174161147</c:v>
                </c:pt>
                <c:pt idx="36">
                  <c:v>75.277888650691452</c:v>
                </c:pt>
                <c:pt idx="37">
                  <c:v>73.321284867253993</c:v>
                </c:pt>
                <c:pt idx="38">
                  <c:v>71.503317436013006</c:v>
                </c:pt>
                <c:pt idx="39">
                  <c:v>69.743946021273032</c:v>
                </c:pt>
                <c:pt idx="40">
                  <c:v>68.106815923703721</c:v>
                </c:pt>
                <c:pt idx="41">
                  <c:v>66.497011239035373</c:v>
                </c:pt>
                <c:pt idx="42">
                  <c:v>64.925987418175978</c:v>
                </c:pt>
                <c:pt idx="43">
                  <c:v>63.369709683120774</c:v>
                </c:pt>
                <c:pt idx="44">
                  <c:v>61.850777150664626</c:v>
                </c:pt>
                <c:pt idx="45">
                  <c:v>60.357954380018754</c:v>
                </c:pt>
                <c:pt idx="46">
                  <c:v>58.897530277428061</c:v>
                </c:pt>
                <c:pt idx="47">
                  <c:v>57.464454813996127</c:v>
                </c:pt>
                <c:pt idx="48">
                  <c:v>56.036629953866289</c:v>
                </c:pt>
                <c:pt idx="49">
                  <c:v>54.637559978257627</c:v>
                </c:pt>
                <c:pt idx="50">
                  <c:v>53.23161883334793</c:v>
                </c:pt>
                <c:pt idx="51">
                  <c:v>51.849194077669154</c:v>
                </c:pt>
                <c:pt idx="52">
                  <c:v>50.494478915016551</c:v>
                </c:pt>
                <c:pt idx="53">
                  <c:v>49.172340665183953</c:v>
                </c:pt>
                <c:pt idx="54">
                  <c:v>47.858774855112159</c:v>
                </c:pt>
                <c:pt idx="55">
                  <c:v>46.573160695726671</c:v>
                </c:pt>
                <c:pt idx="56">
                  <c:v>45.313660780025998</c:v>
                </c:pt>
                <c:pt idx="57">
                  <c:v>44.076687504668186</c:v>
                </c:pt>
                <c:pt idx="58">
                  <c:v>42.859401489516863</c:v>
                </c:pt>
                <c:pt idx="59">
                  <c:v>41.666022517004407</c:v>
                </c:pt>
                <c:pt idx="60">
                  <c:v>40.51159038333865</c:v>
                </c:pt>
                <c:pt idx="61">
                  <c:v>39.387061231752256</c:v>
                </c:pt>
                <c:pt idx="62">
                  <c:v>38.285457214931213</c:v>
                </c:pt>
                <c:pt idx="63">
                  <c:v>37.220707242245972</c:v>
                </c:pt>
                <c:pt idx="64">
                  <c:v>36.16688841856184</c:v>
                </c:pt>
                <c:pt idx="65">
                  <c:v>35.144006209311563</c:v>
                </c:pt>
                <c:pt idx="66">
                  <c:v>34.1516164676970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89-48EC-BA33-19A27E736BC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07.54350312799147</c:v>
                </c:pt>
                <c:pt idx="27">
                  <c:v>103.08656924830743</c:v>
                </c:pt>
                <c:pt idx="28">
                  <c:v>99.084067203471207</c:v>
                </c:pt>
                <c:pt idx="29">
                  <c:v>95.360847142834956</c:v>
                </c:pt>
                <c:pt idx="30">
                  <c:v>92.019896118265876</c:v>
                </c:pt>
                <c:pt idx="31">
                  <c:v>89.157813087932979</c:v>
                </c:pt>
                <c:pt idx="32">
                  <c:v>86.633538745233352</c:v>
                </c:pt>
                <c:pt idx="33">
                  <c:v>84.478512544484119</c:v>
                </c:pt>
                <c:pt idx="34">
                  <c:v>82.5766495265554</c:v>
                </c:pt>
                <c:pt idx="35">
                  <c:v>80.924885414272822</c:v>
                </c:pt>
                <c:pt idx="36">
                  <c:v>79.454597347051603</c:v>
                </c:pt>
                <c:pt idx="37">
                  <c:v>78.221174656873373</c:v>
                </c:pt>
                <c:pt idx="38">
                  <c:v>77.171755611075866</c:v>
                </c:pt>
                <c:pt idx="39">
                  <c:v>76.218617379962552</c:v>
                </c:pt>
                <c:pt idx="40">
                  <c:v>75.417536918658186</c:v>
                </c:pt>
                <c:pt idx="41">
                  <c:v>74.664389664194971</c:v>
                </c:pt>
                <c:pt idx="42">
                  <c:v>73.964744848613179</c:v>
                </c:pt>
                <c:pt idx="43">
                  <c:v>73.291325743413807</c:v>
                </c:pt>
                <c:pt idx="44">
                  <c:v>72.663859735622992</c:v>
                </c:pt>
                <c:pt idx="45">
                  <c:v>72.065299348025462</c:v>
                </c:pt>
                <c:pt idx="46">
                  <c:v>71.495518110574181</c:v>
                </c:pt>
                <c:pt idx="47">
                  <c:v>70.945161088061639</c:v>
                </c:pt>
                <c:pt idx="48">
                  <c:v>70.390420582715194</c:v>
                </c:pt>
                <c:pt idx="49">
                  <c:v>69.851119797757093</c:v>
                </c:pt>
                <c:pt idx="50">
                  <c:v>69.290432152530215</c:v>
                </c:pt>
                <c:pt idx="51">
                  <c:v>68.73565963755226</c:v>
                </c:pt>
                <c:pt idx="52">
                  <c:v>68.189544909625369</c:v>
                </c:pt>
                <c:pt idx="53">
                  <c:v>67.655093126870284</c:v>
                </c:pt>
                <c:pt idx="54">
                  <c:v>67.107156874956857</c:v>
                </c:pt>
                <c:pt idx="55">
                  <c:v>66.565688928609461</c:v>
                </c:pt>
                <c:pt idx="56">
                  <c:v>66.027252930247442</c:v>
                </c:pt>
                <c:pt idx="57">
                  <c:v>65.487641827732674</c:v>
                </c:pt>
                <c:pt idx="58">
                  <c:v>64.944906247346353</c:v>
                </c:pt>
                <c:pt idx="59">
                  <c:v>64.401292062876081</c:v>
                </c:pt>
                <c:pt idx="60">
                  <c:v>63.873093148708769</c:v>
                </c:pt>
                <c:pt idx="61">
                  <c:v>63.350881240382684</c:v>
                </c:pt>
                <c:pt idx="62">
                  <c:v>62.828183186766864</c:v>
                </c:pt>
                <c:pt idx="63">
                  <c:v>62.318976976417659</c:v>
                </c:pt>
                <c:pt idx="64">
                  <c:v>61.797449806481424</c:v>
                </c:pt>
                <c:pt idx="65">
                  <c:v>61.28475226206217</c:v>
                </c:pt>
                <c:pt idx="66">
                  <c:v>60.7802278952221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89-48EC-BA33-19A27E736BC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07.66722465363338</c:v>
                </c:pt>
                <c:pt idx="27">
                  <c:v>103.43899126125214</c:v>
                </c:pt>
                <c:pt idx="28">
                  <c:v>99.74657720117375</c:v>
                </c:pt>
                <c:pt idx="29">
                  <c:v>96.397148792660602</c:v>
                </c:pt>
                <c:pt idx="30">
                  <c:v>93.519058768509922</c:v>
                </c:pt>
                <c:pt idx="31">
                  <c:v>91.227672290374869</c:v>
                </c:pt>
                <c:pt idx="32">
                  <c:v>89.400842549617749</c:v>
                </c:pt>
                <c:pt idx="33">
                  <c:v>88.080119406795205</c:v>
                </c:pt>
                <c:pt idx="34">
                  <c:v>87.126276848100744</c:v>
                </c:pt>
                <c:pt idx="35">
                  <c:v>86.525855078844046</c:v>
                </c:pt>
                <c:pt idx="36">
                  <c:v>86.212853776783021</c:v>
                </c:pt>
                <c:pt idx="37">
                  <c:v>86.252989622894162</c:v>
                </c:pt>
                <c:pt idx="38">
                  <c:v>86.593050188025529</c:v>
                </c:pt>
                <c:pt idx="39">
                  <c:v>87.136203274899827</c:v>
                </c:pt>
                <c:pt idx="40">
                  <c:v>87.925462687451784</c:v>
                </c:pt>
                <c:pt idx="41">
                  <c:v>88.846721669263729</c:v>
                </c:pt>
                <c:pt idx="42">
                  <c:v>89.904065521932324</c:v>
                </c:pt>
                <c:pt idx="43">
                  <c:v>91.069611865692821</c:v>
                </c:pt>
                <c:pt idx="44">
                  <c:v>92.36049241417696</c:v>
                </c:pt>
                <c:pt idx="45">
                  <c:v>93.751380366654388</c:v>
                </c:pt>
                <c:pt idx="46">
                  <c:v>95.235419993927749</c:v>
                </c:pt>
                <c:pt idx="47">
                  <c:v>96.796753175974686</c:v>
                </c:pt>
                <c:pt idx="48">
                  <c:v>98.41020094134484</c:v>
                </c:pt>
                <c:pt idx="49">
                  <c:v>100.09579320081116</c:v>
                </c:pt>
                <c:pt idx="50">
                  <c:v>101.81359325009998</c:v>
                </c:pt>
                <c:pt idx="51">
                  <c:v>103.58711269226674</c:v>
                </c:pt>
                <c:pt idx="52">
                  <c:v>105.41452732734339</c:v>
                </c:pt>
                <c:pt idx="53">
                  <c:v>107.29757841474844</c:v>
                </c:pt>
                <c:pt idx="54">
                  <c:v>109.21127087096686</c:v>
                </c:pt>
                <c:pt idx="55">
                  <c:v>111.17482836996945</c:v>
                </c:pt>
                <c:pt idx="56">
                  <c:v>113.18374964887069</c:v>
                </c:pt>
                <c:pt idx="57">
                  <c:v>115.23232787467029</c:v>
                </c:pt>
                <c:pt idx="58">
                  <c:v>117.31705033222539</c:v>
                </c:pt>
                <c:pt idx="59">
                  <c:v>119.44145327807323</c:v>
                </c:pt>
                <c:pt idx="60">
                  <c:v>121.62097275283261</c:v>
                </c:pt>
                <c:pt idx="61">
                  <c:v>123.84637708952982</c:v>
                </c:pt>
                <c:pt idx="62">
                  <c:v>126.11148785880337</c:v>
                </c:pt>
                <c:pt idx="63">
                  <c:v>128.43007755045284</c:v>
                </c:pt>
                <c:pt idx="64">
                  <c:v>130.77661375659397</c:v>
                </c:pt>
                <c:pt idx="65">
                  <c:v>133.17205199802848</c:v>
                </c:pt>
                <c:pt idx="66">
                  <c:v>135.616809014296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89-48EC-BA33-19A27E736BC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42</c:v>
                </c:pt>
                <c:pt idx="1">
                  <c:v>242</c:v>
                </c:pt>
                <c:pt idx="2">
                  <c:v>242</c:v>
                </c:pt>
                <c:pt idx="3">
                  <c:v>242</c:v>
                </c:pt>
                <c:pt idx="4">
                  <c:v>242</c:v>
                </c:pt>
                <c:pt idx="5">
                  <c:v>242</c:v>
                </c:pt>
                <c:pt idx="6">
                  <c:v>242</c:v>
                </c:pt>
                <c:pt idx="7">
                  <c:v>242</c:v>
                </c:pt>
                <c:pt idx="8">
                  <c:v>242</c:v>
                </c:pt>
                <c:pt idx="9">
                  <c:v>242</c:v>
                </c:pt>
                <c:pt idx="10">
                  <c:v>242</c:v>
                </c:pt>
                <c:pt idx="11">
                  <c:v>242</c:v>
                </c:pt>
                <c:pt idx="12">
                  <c:v>242</c:v>
                </c:pt>
                <c:pt idx="13">
                  <c:v>242</c:v>
                </c:pt>
                <c:pt idx="14">
                  <c:v>242</c:v>
                </c:pt>
                <c:pt idx="15">
                  <c:v>242</c:v>
                </c:pt>
                <c:pt idx="16">
                  <c:v>242</c:v>
                </c:pt>
                <c:pt idx="17">
                  <c:v>242</c:v>
                </c:pt>
                <c:pt idx="18">
                  <c:v>242</c:v>
                </c:pt>
                <c:pt idx="19">
                  <c:v>242</c:v>
                </c:pt>
                <c:pt idx="20">
                  <c:v>242</c:v>
                </c:pt>
                <c:pt idx="21">
                  <c:v>242</c:v>
                </c:pt>
                <c:pt idx="22">
                  <c:v>242</c:v>
                </c:pt>
                <c:pt idx="23">
                  <c:v>242</c:v>
                </c:pt>
                <c:pt idx="24">
                  <c:v>242</c:v>
                </c:pt>
                <c:pt idx="25">
                  <c:v>242</c:v>
                </c:pt>
                <c:pt idx="26">
                  <c:v>242</c:v>
                </c:pt>
                <c:pt idx="27">
                  <c:v>242</c:v>
                </c:pt>
                <c:pt idx="28">
                  <c:v>242</c:v>
                </c:pt>
                <c:pt idx="29">
                  <c:v>242</c:v>
                </c:pt>
                <c:pt idx="30">
                  <c:v>242</c:v>
                </c:pt>
                <c:pt idx="31">
                  <c:v>242</c:v>
                </c:pt>
                <c:pt idx="32">
                  <c:v>242</c:v>
                </c:pt>
                <c:pt idx="33">
                  <c:v>242</c:v>
                </c:pt>
                <c:pt idx="34">
                  <c:v>242</c:v>
                </c:pt>
                <c:pt idx="35">
                  <c:v>242</c:v>
                </c:pt>
                <c:pt idx="36">
                  <c:v>242</c:v>
                </c:pt>
                <c:pt idx="37">
                  <c:v>242</c:v>
                </c:pt>
                <c:pt idx="38">
                  <c:v>242</c:v>
                </c:pt>
                <c:pt idx="39">
                  <c:v>242</c:v>
                </c:pt>
                <c:pt idx="40">
                  <c:v>242</c:v>
                </c:pt>
                <c:pt idx="41">
                  <c:v>242</c:v>
                </c:pt>
                <c:pt idx="42">
                  <c:v>242</c:v>
                </c:pt>
                <c:pt idx="43">
                  <c:v>242</c:v>
                </c:pt>
                <c:pt idx="44">
                  <c:v>242</c:v>
                </c:pt>
                <c:pt idx="45">
                  <c:v>242</c:v>
                </c:pt>
                <c:pt idx="46">
                  <c:v>242</c:v>
                </c:pt>
                <c:pt idx="47">
                  <c:v>242</c:v>
                </c:pt>
                <c:pt idx="48">
                  <c:v>242</c:v>
                </c:pt>
                <c:pt idx="49">
                  <c:v>242</c:v>
                </c:pt>
                <c:pt idx="50">
                  <c:v>242</c:v>
                </c:pt>
                <c:pt idx="51">
                  <c:v>242</c:v>
                </c:pt>
                <c:pt idx="52">
                  <c:v>242</c:v>
                </c:pt>
                <c:pt idx="53">
                  <c:v>242</c:v>
                </c:pt>
                <c:pt idx="54">
                  <c:v>242</c:v>
                </c:pt>
                <c:pt idx="55">
                  <c:v>242</c:v>
                </c:pt>
                <c:pt idx="56">
                  <c:v>242</c:v>
                </c:pt>
                <c:pt idx="57">
                  <c:v>242</c:v>
                </c:pt>
                <c:pt idx="58">
                  <c:v>242</c:v>
                </c:pt>
                <c:pt idx="59">
                  <c:v>242</c:v>
                </c:pt>
                <c:pt idx="60">
                  <c:v>242</c:v>
                </c:pt>
                <c:pt idx="61">
                  <c:v>242</c:v>
                </c:pt>
                <c:pt idx="62">
                  <c:v>242</c:v>
                </c:pt>
                <c:pt idx="63">
                  <c:v>242</c:v>
                </c:pt>
                <c:pt idx="64">
                  <c:v>242</c:v>
                </c:pt>
                <c:pt idx="65">
                  <c:v>242</c:v>
                </c:pt>
                <c:pt idx="66">
                  <c:v>2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1</c:v>
                </c:pt>
                <c:pt idx="1">
                  <c:v>77</c:v>
                </c:pt>
                <c:pt idx="2">
                  <c:v>79</c:v>
                </c:pt>
                <c:pt idx="3">
                  <c:v>70</c:v>
                </c:pt>
                <c:pt idx="4">
                  <c:v>69</c:v>
                </c:pt>
                <c:pt idx="5">
                  <c:v>77</c:v>
                </c:pt>
                <c:pt idx="6">
                  <c:v>80</c:v>
                </c:pt>
                <c:pt idx="7">
                  <c:v>82</c:v>
                </c:pt>
                <c:pt idx="8">
                  <c:v>79</c:v>
                </c:pt>
                <c:pt idx="9">
                  <c:v>77</c:v>
                </c:pt>
                <c:pt idx="10">
                  <c:v>81</c:v>
                </c:pt>
                <c:pt idx="11">
                  <c:v>80</c:v>
                </c:pt>
                <c:pt idx="12">
                  <c:v>69</c:v>
                </c:pt>
                <c:pt idx="13">
                  <c:v>71</c:v>
                </c:pt>
                <c:pt idx="14">
                  <c:v>73</c:v>
                </c:pt>
                <c:pt idx="15">
                  <c:v>74</c:v>
                </c:pt>
                <c:pt idx="16">
                  <c:v>66</c:v>
                </c:pt>
                <c:pt idx="17">
                  <c:v>70</c:v>
                </c:pt>
                <c:pt idx="18">
                  <c:v>69</c:v>
                </c:pt>
                <c:pt idx="19">
                  <c:v>68</c:v>
                </c:pt>
                <c:pt idx="20">
                  <c:v>74</c:v>
                </c:pt>
                <c:pt idx="21">
                  <c:v>65</c:v>
                </c:pt>
                <c:pt idx="22">
                  <c:v>62</c:v>
                </c:pt>
                <c:pt idx="23">
                  <c:v>57</c:v>
                </c:pt>
                <c:pt idx="24">
                  <c:v>60</c:v>
                </c:pt>
                <c:pt idx="25">
                  <c:v>58</c:v>
                </c:pt>
                <c:pt idx="26">
                  <c:v>48</c:v>
                </c:pt>
                <c:pt idx="27">
                  <c:v>51</c:v>
                </c:pt>
                <c:pt idx="28">
                  <c:v>49</c:v>
                </c:pt>
                <c:pt idx="29">
                  <c:v>48</c:v>
                </c:pt>
                <c:pt idx="30">
                  <c:v>45</c:v>
                </c:pt>
                <c:pt idx="31">
                  <c:v>42</c:v>
                </c:pt>
                <c:pt idx="32">
                  <c:v>46</c:v>
                </c:pt>
                <c:pt idx="33">
                  <c:v>45</c:v>
                </c:pt>
                <c:pt idx="34">
                  <c:v>40</c:v>
                </c:pt>
                <c:pt idx="35">
                  <c:v>35</c:v>
                </c:pt>
                <c:pt idx="36">
                  <c:v>36</c:v>
                </c:pt>
                <c:pt idx="37">
                  <c:v>29</c:v>
                </c:pt>
                <c:pt idx="38">
                  <c:v>25</c:v>
                </c:pt>
                <c:pt idx="39">
                  <c:v>24</c:v>
                </c:pt>
                <c:pt idx="40">
                  <c:v>21</c:v>
                </c:pt>
                <c:pt idx="41">
                  <c:v>22</c:v>
                </c:pt>
                <c:pt idx="42">
                  <c:v>20</c:v>
                </c:pt>
                <c:pt idx="43">
                  <c:v>21</c:v>
                </c:pt>
                <c:pt idx="44">
                  <c:v>19</c:v>
                </c:pt>
                <c:pt idx="45">
                  <c:v>18</c:v>
                </c:pt>
                <c:pt idx="46">
                  <c:v>18</c:v>
                </c:pt>
                <c:pt idx="47">
                  <c:v>17</c:v>
                </c:pt>
                <c:pt idx="48">
                  <c:v>17</c:v>
                </c:pt>
                <c:pt idx="49">
                  <c:v>16</c:v>
                </c:pt>
                <c:pt idx="50">
                  <c:v>14</c:v>
                </c:pt>
                <c:pt idx="51">
                  <c:v>13</c:v>
                </c:pt>
                <c:pt idx="52">
                  <c:v>13</c:v>
                </c:pt>
                <c:pt idx="53">
                  <c:v>11</c:v>
                </c:pt>
                <c:pt idx="54">
                  <c:v>9</c:v>
                </c:pt>
                <c:pt idx="55">
                  <c:v>8</c:v>
                </c:pt>
                <c:pt idx="56">
                  <c:v>8</c:v>
                </c:pt>
                <c:pt idx="57">
                  <c:v>6</c:v>
                </c:pt>
                <c:pt idx="58">
                  <c:v>8</c:v>
                </c:pt>
                <c:pt idx="59">
                  <c:v>8</c:v>
                </c:pt>
                <c:pt idx="60">
                  <c:v>9</c:v>
                </c:pt>
                <c:pt idx="61">
                  <c:v>9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51.240544367982004</c:v>
                </c:pt>
                <c:pt idx="27">
                  <c:v>48.93908308763632</c:v>
                </c:pt>
                <c:pt idx="28">
                  <c:v>46.799580259431096</c:v>
                </c:pt>
                <c:pt idx="29">
                  <c:v>44.762751550532975</c:v>
                </c:pt>
                <c:pt idx="30">
                  <c:v>42.86262835465191</c:v>
                </c:pt>
                <c:pt idx="31">
                  <c:v>41.136145967984561</c:v>
                </c:pt>
                <c:pt idx="32">
                  <c:v>39.512746171823956</c:v>
                </c:pt>
                <c:pt idx="33">
                  <c:v>38.000967810759896</c:v>
                </c:pt>
                <c:pt idx="34">
                  <c:v>36.557842248508109</c:v>
                </c:pt>
                <c:pt idx="35">
                  <c:v>35.189438732733478</c:v>
                </c:pt>
                <c:pt idx="36">
                  <c:v>33.875748339194068</c:v>
                </c:pt>
                <c:pt idx="37">
                  <c:v>32.637126987859062</c:v>
                </c:pt>
                <c:pt idx="38">
                  <c:v>31.456782494293279</c:v>
                </c:pt>
                <c:pt idx="39">
                  <c:v>30.299720605474523</c:v>
                </c:pt>
                <c:pt idx="40">
                  <c:v>29.1981710647784</c:v>
                </c:pt>
                <c:pt idx="41">
                  <c:v>28.111881977843865</c:v>
                </c:pt>
                <c:pt idx="42">
                  <c:v>27.047952570264663</c:v>
                </c:pt>
                <c:pt idx="43">
                  <c:v>25.999350201883814</c:v>
                </c:pt>
                <c:pt idx="44">
                  <c:v>24.977032512627389</c:v>
                </c:pt>
                <c:pt idx="45">
                  <c:v>23.981726691409662</c:v>
                </c:pt>
                <c:pt idx="46">
                  <c:v>23.013435919855958</c:v>
                </c:pt>
                <c:pt idx="47">
                  <c:v>22.071674788076812</c:v>
                </c:pt>
                <c:pt idx="48">
                  <c:v>21.147710672945777</c:v>
                </c:pt>
                <c:pt idx="49">
                  <c:v>20.251976194305662</c:v>
                </c:pt>
                <c:pt idx="50">
                  <c:v>19.369491419333205</c:v>
                </c:pt>
                <c:pt idx="51">
                  <c:v>18.51511664002852</c:v>
                </c:pt>
                <c:pt idx="52">
                  <c:v>17.69107177804807</c:v>
                </c:pt>
                <c:pt idx="53">
                  <c:v>16.899576216775717</c:v>
                </c:pt>
                <c:pt idx="54">
                  <c:v>16.129071157561373</c:v>
                </c:pt>
                <c:pt idx="55">
                  <c:v>15.386403604558975</c:v>
                </c:pt>
                <c:pt idx="56">
                  <c:v>14.672140961334469</c:v>
                </c:pt>
                <c:pt idx="57">
                  <c:v>13.983327738148347</c:v>
                </c:pt>
                <c:pt idx="58">
                  <c:v>13.318519869235471</c:v>
                </c:pt>
                <c:pt idx="59">
                  <c:v>12.678065574730249</c:v>
                </c:pt>
                <c:pt idx="60">
                  <c:v>12.070223329879481</c:v>
                </c:pt>
                <c:pt idx="61">
                  <c:v>11.489675933994489</c:v>
                </c:pt>
                <c:pt idx="62">
                  <c:v>10.931187430844366</c:v>
                </c:pt>
                <c:pt idx="63">
                  <c:v>10.401219420671483</c:v>
                </c:pt>
                <c:pt idx="64">
                  <c:v>9.8876825973568181</c:v>
                </c:pt>
                <c:pt idx="65">
                  <c:v>9.3985475961959253</c:v>
                </c:pt>
                <c:pt idx="66">
                  <c:v>8.93364749743224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49-4ED8-A312-E63B4969381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51.280055567774035</c:v>
                </c:pt>
                <c:pt idx="27">
                  <c:v>49.051188099203259</c:v>
                </c:pt>
                <c:pt idx="28">
                  <c:v>47.010055481202755</c:v>
                </c:pt>
                <c:pt idx="29">
                  <c:v>45.091796639389663</c:v>
                </c:pt>
                <c:pt idx="30">
                  <c:v>43.333890277527459</c:v>
                </c:pt>
                <c:pt idx="31">
                  <c:v>41.775514951026295</c:v>
                </c:pt>
                <c:pt idx="32">
                  <c:v>40.348902483552578</c:v>
                </c:pt>
                <c:pt idx="33">
                  <c:v>39.063466467893349</c:v>
                </c:pt>
                <c:pt idx="34">
                  <c:v>37.86930078658817</c:v>
                </c:pt>
                <c:pt idx="35">
                  <c:v>36.767800966732061</c:v>
                </c:pt>
                <c:pt idx="36">
                  <c:v>35.736142332056701</c:v>
                </c:pt>
                <c:pt idx="37">
                  <c:v>34.793348542979032</c:v>
                </c:pt>
                <c:pt idx="38">
                  <c:v>33.920144764763421</c:v>
                </c:pt>
                <c:pt idx="39">
                  <c:v>33.07788453397724</c:v>
                </c:pt>
                <c:pt idx="40">
                  <c:v>32.294035112455866</c:v>
                </c:pt>
                <c:pt idx="41">
                  <c:v>31.52415487386358</c:v>
                </c:pt>
                <c:pt idx="42">
                  <c:v>30.773189324179537</c:v>
                </c:pt>
                <c:pt idx="43">
                  <c:v>30.031664479812946</c:v>
                </c:pt>
                <c:pt idx="44">
                  <c:v>29.308380623323483</c:v>
                </c:pt>
                <c:pt idx="45">
                  <c:v>28.601932807753219</c:v>
                </c:pt>
                <c:pt idx="46">
                  <c:v>27.911129062107324</c:v>
                </c:pt>
                <c:pt idx="47">
                  <c:v>27.233711167772462</c:v>
                </c:pt>
                <c:pt idx="48">
                  <c:v>26.559298722478687</c:v>
                </c:pt>
                <c:pt idx="49">
                  <c:v>25.898280391692733</c:v>
                </c:pt>
                <c:pt idx="50">
                  <c:v>25.234696491130599</c:v>
                </c:pt>
                <c:pt idx="51">
                  <c:v>24.583242628314988</c:v>
                </c:pt>
                <c:pt idx="52">
                  <c:v>23.945975005733708</c:v>
                </c:pt>
                <c:pt idx="53">
                  <c:v>23.325150354279359</c:v>
                </c:pt>
                <c:pt idx="54">
                  <c:v>22.709283393974356</c:v>
                </c:pt>
                <c:pt idx="55">
                  <c:v>22.105550410794748</c:v>
                </c:pt>
                <c:pt idx="56">
                  <c:v>21.514747204435622</c:v>
                </c:pt>
                <c:pt idx="57">
                  <c:v>20.934536438127864</c:v>
                </c:pt>
                <c:pt idx="58">
                  <c:v>20.363917018773371</c:v>
                </c:pt>
                <c:pt idx="59">
                  <c:v>19.803877995178038</c:v>
                </c:pt>
                <c:pt idx="60">
                  <c:v>19.263075647623666</c:v>
                </c:pt>
                <c:pt idx="61">
                  <c:v>18.737213821637614</c:v>
                </c:pt>
                <c:pt idx="62">
                  <c:v>18.221270119393409</c:v>
                </c:pt>
                <c:pt idx="63">
                  <c:v>17.722627823493283</c:v>
                </c:pt>
                <c:pt idx="64">
                  <c:v>17.229674704042957</c:v>
                </c:pt>
                <c:pt idx="65">
                  <c:v>16.751023402926613</c:v>
                </c:pt>
                <c:pt idx="66">
                  <c:v>16.2868949350480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49-4ED8-A312-E63B4969381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51.319267440294908</c:v>
                </c:pt>
                <c:pt idx="27">
                  <c:v>49.162906427071306</c:v>
                </c:pt>
                <c:pt idx="28">
                  <c:v>47.220084830093285</c:v>
                </c:pt>
                <c:pt idx="29">
                  <c:v>45.420344007509726</c:v>
                </c:pt>
                <c:pt idx="30">
                  <c:v>43.806404473814837</c:v>
                </c:pt>
                <c:pt idx="31">
                  <c:v>42.421414901248973</c:v>
                </c:pt>
                <c:pt idx="32">
                  <c:v>41.201984555391128</c:v>
                </c:pt>
                <c:pt idx="33">
                  <c:v>40.159229460906587</c:v>
                </c:pt>
                <c:pt idx="34">
                  <c:v>39.236070935737317</c:v>
                </c:pt>
                <c:pt idx="35">
                  <c:v>38.429210303557824</c:v>
                </c:pt>
                <c:pt idx="36">
                  <c:v>37.715044115865851</c:v>
                </c:pt>
                <c:pt idx="37">
                  <c:v>37.113181824944462</c:v>
                </c:pt>
                <c:pt idx="38">
                  <c:v>36.602039644722097</c:v>
                </c:pt>
                <c:pt idx="39">
                  <c:v>36.139347436323945</c:v>
                </c:pt>
                <c:pt idx="40">
                  <c:v>35.7488058266444</c:v>
                </c:pt>
                <c:pt idx="41">
                  <c:v>35.381694634070236</c:v>
                </c:pt>
                <c:pt idx="42">
                  <c:v>35.040204161832115</c:v>
                </c:pt>
                <c:pt idx="43">
                  <c:v>34.713351307187743</c:v>
                </c:pt>
                <c:pt idx="44">
                  <c:v>34.408612346380949</c:v>
                </c:pt>
                <c:pt idx="45">
                  <c:v>34.121829310494007</c:v>
                </c:pt>
                <c:pt idx="46">
                  <c:v>33.848798432151263</c:v>
                </c:pt>
                <c:pt idx="47">
                  <c:v>33.585260991609886</c:v>
                </c:pt>
                <c:pt idx="48">
                  <c:v>33.320061319428888</c:v>
                </c:pt>
                <c:pt idx="49">
                  <c:v>33.061856051907213</c:v>
                </c:pt>
                <c:pt idx="50">
                  <c:v>32.794152066629728</c:v>
                </c:pt>
                <c:pt idx="51">
                  <c:v>32.530215803271929</c:v>
                </c:pt>
                <c:pt idx="52">
                  <c:v>32.271443162308699</c:v>
                </c:pt>
                <c:pt idx="53">
                  <c:v>32.019229991576175</c:v>
                </c:pt>
                <c:pt idx="54">
                  <c:v>31.761569946618089</c:v>
                </c:pt>
                <c:pt idx="55">
                  <c:v>31.505917646173891</c:v>
                </c:pt>
                <c:pt idx="56">
                  <c:v>31.252314828943938</c:v>
                </c:pt>
                <c:pt idx="57">
                  <c:v>30.998145160353175</c:v>
                </c:pt>
                <c:pt idx="58">
                  <c:v>30.742848594757302</c:v>
                </c:pt>
                <c:pt idx="59">
                  <c:v>30.486490153616167</c:v>
                </c:pt>
                <c:pt idx="60">
                  <c:v>30.23832238008838</c:v>
                </c:pt>
                <c:pt idx="61">
                  <c:v>29.993869981826411</c:v>
                </c:pt>
                <c:pt idx="62">
                  <c:v>29.748345662873675</c:v>
                </c:pt>
                <c:pt idx="63">
                  <c:v>29.509159857585622</c:v>
                </c:pt>
                <c:pt idx="64">
                  <c:v>29.264757886827926</c:v>
                </c:pt>
                <c:pt idx="65">
                  <c:v>29.024304593376964</c:v>
                </c:pt>
                <c:pt idx="66">
                  <c:v>28.7879169383837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49-4ED8-A312-E63B4969381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51.378234912711804</c:v>
                </c:pt>
                <c:pt idx="27">
                  <c:v>49.330976587993987</c:v>
                </c:pt>
                <c:pt idx="28">
                  <c:v>47.535888137204097</c:v>
                </c:pt>
                <c:pt idx="29">
                  <c:v>45.914053134788723</c:v>
                </c:pt>
                <c:pt idx="30">
                  <c:v>44.520209188691183</c:v>
                </c:pt>
                <c:pt idx="31">
                  <c:v>43.406294929089057</c:v>
                </c:pt>
                <c:pt idx="32">
                  <c:v>42.517666173605171</c:v>
                </c:pt>
                <c:pt idx="33">
                  <c:v>41.870181685198247</c:v>
                </c:pt>
                <c:pt idx="34">
                  <c:v>41.395691762643942</c:v>
                </c:pt>
                <c:pt idx="35">
                  <c:v>41.085769364905097</c:v>
                </c:pt>
                <c:pt idx="36">
                  <c:v>40.918068341134401</c:v>
                </c:pt>
                <c:pt idx="37">
                  <c:v>40.917233157036392</c:v>
                </c:pt>
                <c:pt idx="38">
                  <c:v>41.061453752421656</c:v>
                </c:pt>
                <c:pt idx="39">
                  <c:v>41.304126747974756</c:v>
                </c:pt>
                <c:pt idx="40">
                  <c:v>41.662804205634842</c:v>
                </c:pt>
                <c:pt idx="41">
                  <c:v>42.08414233737949</c:v>
                </c:pt>
                <c:pt idx="42">
                  <c:v>42.5696693059651</c:v>
                </c:pt>
                <c:pt idx="43">
                  <c:v>43.108136582991371</c:v>
                </c:pt>
                <c:pt idx="44">
                  <c:v>43.705807281016853</c:v>
                </c:pt>
                <c:pt idx="45">
                  <c:v>44.354574710119515</c:v>
                </c:pt>
                <c:pt idx="46">
                  <c:v>45.047076735438509</c:v>
                </c:pt>
                <c:pt idx="47">
                  <c:v>45.776005638408307</c:v>
                </c:pt>
                <c:pt idx="48">
                  <c:v>46.529589984075827</c:v>
                </c:pt>
                <c:pt idx="49">
                  <c:v>47.316601957464194</c:v>
                </c:pt>
                <c:pt idx="50">
                  <c:v>48.119110379068559</c:v>
                </c:pt>
                <c:pt idx="51">
                  <c:v>48.948607071265876</c:v>
                </c:pt>
                <c:pt idx="52">
                  <c:v>49.804350028117838</c:v>
                </c:pt>
                <c:pt idx="53">
                  <c:v>50.68716609318593</c:v>
                </c:pt>
                <c:pt idx="54">
                  <c:v>51.5851542106967</c:v>
                </c:pt>
                <c:pt idx="55">
                  <c:v>52.505412346723908</c:v>
                </c:pt>
                <c:pt idx="56">
                  <c:v>53.447478071024499</c:v>
                </c:pt>
                <c:pt idx="57">
                  <c:v>54.40805280168513</c:v>
                </c:pt>
                <c:pt idx="58">
                  <c:v>55.385850082029393</c:v>
                </c:pt>
                <c:pt idx="59">
                  <c:v>56.381572390845449</c:v>
                </c:pt>
                <c:pt idx="60">
                  <c:v>57.404067008468786</c:v>
                </c:pt>
                <c:pt idx="61">
                  <c:v>58.448948689656376</c:v>
                </c:pt>
                <c:pt idx="62">
                  <c:v>59.511569497899885</c:v>
                </c:pt>
                <c:pt idx="63">
                  <c:v>60.599241452838839</c:v>
                </c:pt>
                <c:pt idx="64">
                  <c:v>61.700560591822935</c:v>
                </c:pt>
                <c:pt idx="65">
                  <c:v>62.82460332153795</c:v>
                </c:pt>
                <c:pt idx="66">
                  <c:v>63.9719931988624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49-4ED8-A312-E63B4969381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0</c:v>
                </c:pt>
                <c:pt idx="1">
                  <c:v>110</c:v>
                </c:pt>
                <c:pt idx="2">
                  <c:v>110</c:v>
                </c:pt>
                <c:pt idx="3">
                  <c:v>110</c:v>
                </c:pt>
                <c:pt idx="4">
                  <c:v>110</c:v>
                </c:pt>
                <c:pt idx="5">
                  <c:v>110</c:v>
                </c:pt>
                <c:pt idx="6">
                  <c:v>110</c:v>
                </c:pt>
                <c:pt idx="7">
                  <c:v>110</c:v>
                </c:pt>
                <c:pt idx="8">
                  <c:v>110</c:v>
                </c:pt>
                <c:pt idx="9">
                  <c:v>110</c:v>
                </c:pt>
                <c:pt idx="10">
                  <c:v>110</c:v>
                </c:pt>
                <c:pt idx="11">
                  <c:v>110</c:v>
                </c:pt>
                <c:pt idx="12">
                  <c:v>110</c:v>
                </c:pt>
                <c:pt idx="13">
                  <c:v>110</c:v>
                </c:pt>
                <c:pt idx="14">
                  <c:v>110</c:v>
                </c:pt>
                <c:pt idx="15">
                  <c:v>110</c:v>
                </c:pt>
                <c:pt idx="16">
                  <c:v>110</c:v>
                </c:pt>
                <c:pt idx="17">
                  <c:v>110</c:v>
                </c:pt>
                <c:pt idx="18">
                  <c:v>110</c:v>
                </c:pt>
                <c:pt idx="19">
                  <c:v>110</c:v>
                </c:pt>
                <c:pt idx="20">
                  <c:v>110</c:v>
                </c:pt>
                <c:pt idx="21">
                  <c:v>110</c:v>
                </c:pt>
                <c:pt idx="22">
                  <c:v>110</c:v>
                </c:pt>
                <c:pt idx="23">
                  <c:v>110</c:v>
                </c:pt>
                <c:pt idx="24">
                  <c:v>110</c:v>
                </c:pt>
                <c:pt idx="25">
                  <c:v>110</c:v>
                </c:pt>
                <c:pt idx="26">
                  <c:v>110</c:v>
                </c:pt>
                <c:pt idx="27">
                  <c:v>110</c:v>
                </c:pt>
                <c:pt idx="28">
                  <c:v>110</c:v>
                </c:pt>
                <c:pt idx="29">
                  <c:v>110</c:v>
                </c:pt>
                <c:pt idx="30">
                  <c:v>110</c:v>
                </c:pt>
                <c:pt idx="31">
                  <c:v>110</c:v>
                </c:pt>
                <c:pt idx="32">
                  <c:v>110</c:v>
                </c:pt>
                <c:pt idx="33">
                  <c:v>110</c:v>
                </c:pt>
                <c:pt idx="34">
                  <c:v>110</c:v>
                </c:pt>
                <c:pt idx="35">
                  <c:v>110</c:v>
                </c:pt>
                <c:pt idx="36">
                  <c:v>110</c:v>
                </c:pt>
                <c:pt idx="37">
                  <c:v>110</c:v>
                </c:pt>
                <c:pt idx="38">
                  <c:v>110</c:v>
                </c:pt>
                <c:pt idx="39">
                  <c:v>110</c:v>
                </c:pt>
                <c:pt idx="40">
                  <c:v>110</c:v>
                </c:pt>
                <c:pt idx="41">
                  <c:v>110</c:v>
                </c:pt>
                <c:pt idx="42">
                  <c:v>110</c:v>
                </c:pt>
                <c:pt idx="43">
                  <c:v>110</c:v>
                </c:pt>
                <c:pt idx="44">
                  <c:v>110</c:v>
                </c:pt>
                <c:pt idx="45">
                  <c:v>110</c:v>
                </c:pt>
                <c:pt idx="46">
                  <c:v>110</c:v>
                </c:pt>
                <c:pt idx="47">
                  <c:v>110</c:v>
                </c:pt>
                <c:pt idx="48">
                  <c:v>110</c:v>
                </c:pt>
                <c:pt idx="49">
                  <c:v>110</c:v>
                </c:pt>
                <c:pt idx="50">
                  <c:v>110</c:v>
                </c:pt>
                <c:pt idx="51">
                  <c:v>110</c:v>
                </c:pt>
                <c:pt idx="52">
                  <c:v>110</c:v>
                </c:pt>
                <c:pt idx="53">
                  <c:v>110</c:v>
                </c:pt>
                <c:pt idx="54">
                  <c:v>110</c:v>
                </c:pt>
                <c:pt idx="55">
                  <c:v>110</c:v>
                </c:pt>
                <c:pt idx="56">
                  <c:v>110</c:v>
                </c:pt>
                <c:pt idx="57">
                  <c:v>110</c:v>
                </c:pt>
                <c:pt idx="58">
                  <c:v>110</c:v>
                </c:pt>
                <c:pt idx="59">
                  <c:v>110</c:v>
                </c:pt>
                <c:pt idx="60">
                  <c:v>110</c:v>
                </c:pt>
                <c:pt idx="61">
                  <c:v>110</c:v>
                </c:pt>
                <c:pt idx="62">
                  <c:v>110</c:v>
                </c:pt>
                <c:pt idx="63">
                  <c:v>110</c:v>
                </c:pt>
                <c:pt idx="64">
                  <c:v>110</c:v>
                </c:pt>
                <c:pt idx="65">
                  <c:v>110</c:v>
                </c:pt>
                <c:pt idx="66">
                  <c:v>1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4</c:v>
                </c:pt>
                <c:pt idx="1">
                  <c:v>66</c:v>
                </c:pt>
                <c:pt idx="2">
                  <c:v>63</c:v>
                </c:pt>
                <c:pt idx="3">
                  <c:v>63</c:v>
                </c:pt>
                <c:pt idx="4">
                  <c:v>63</c:v>
                </c:pt>
                <c:pt idx="5">
                  <c:v>67</c:v>
                </c:pt>
                <c:pt idx="6">
                  <c:v>56</c:v>
                </c:pt>
                <c:pt idx="7">
                  <c:v>52</c:v>
                </c:pt>
                <c:pt idx="8">
                  <c:v>56</c:v>
                </c:pt>
                <c:pt idx="9">
                  <c:v>51</c:v>
                </c:pt>
                <c:pt idx="10">
                  <c:v>56</c:v>
                </c:pt>
                <c:pt idx="11">
                  <c:v>53</c:v>
                </c:pt>
                <c:pt idx="12">
                  <c:v>55</c:v>
                </c:pt>
                <c:pt idx="13">
                  <c:v>60</c:v>
                </c:pt>
                <c:pt idx="14">
                  <c:v>56</c:v>
                </c:pt>
                <c:pt idx="15">
                  <c:v>56</c:v>
                </c:pt>
                <c:pt idx="16">
                  <c:v>53</c:v>
                </c:pt>
                <c:pt idx="17">
                  <c:v>55</c:v>
                </c:pt>
                <c:pt idx="18">
                  <c:v>60</c:v>
                </c:pt>
                <c:pt idx="19">
                  <c:v>60</c:v>
                </c:pt>
                <c:pt idx="20">
                  <c:v>60</c:v>
                </c:pt>
                <c:pt idx="21">
                  <c:v>63</c:v>
                </c:pt>
                <c:pt idx="22">
                  <c:v>64</c:v>
                </c:pt>
                <c:pt idx="23">
                  <c:v>62</c:v>
                </c:pt>
                <c:pt idx="24">
                  <c:v>67</c:v>
                </c:pt>
                <c:pt idx="25">
                  <c:v>67</c:v>
                </c:pt>
                <c:pt idx="26">
                  <c:v>63</c:v>
                </c:pt>
                <c:pt idx="27">
                  <c:v>60</c:v>
                </c:pt>
                <c:pt idx="28">
                  <c:v>51</c:v>
                </c:pt>
                <c:pt idx="29">
                  <c:v>47</c:v>
                </c:pt>
                <c:pt idx="30">
                  <c:v>49</c:v>
                </c:pt>
                <c:pt idx="31">
                  <c:v>45</c:v>
                </c:pt>
                <c:pt idx="32">
                  <c:v>47</c:v>
                </c:pt>
                <c:pt idx="33">
                  <c:v>47</c:v>
                </c:pt>
                <c:pt idx="34">
                  <c:v>43</c:v>
                </c:pt>
                <c:pt idx="35">
                  <c:v>41</c:v>
                </c:pt>
                <c:pt idx="36">
                  <c:v>37</c:v>
                </c:pt>
                <c:pt idx="37">
                  <c:v>34</c:v>
                </c:pt>
                <c:pt idx="38">
                  <c:v>35</c:v>
                </c:pt>
                <c:pt idx="39">
                  <c:v>35</c:v>
                </c:pt>
                <c:pt idx="40">
                  <c:v>33</c:v>
                </c:pt>
                <c:pt idx="41">
                  <c:v>27</c:v>
                </c:pt>
                <c:pt idx="42">
                  <c:v>30</c:v>
                </c:pt>
                <c:pt idx="43">
                  <c:v>26</c:v>
                </c:pt>
                <c:pt idx="44">
                  <c:v>24</c:v>
                </c:pt>
                <c:pt idx="45">
                  <c:v>24</c:v>
                </c:pt>
                <c:pt idx="46">
                  <c:v>21</c:v>
                </c:pt>
                <c:pt idx="47">
                  <c:v>22</c:v>
                </c:pt>
                <c:pt idx="48">
                  <c:v>21</c:v>
                </c:pt>
                <c:pt idx="49">
                  <c:v>19</c:v>
                </c:pt>
                <c:pt idx="50">
                  <c:v>20</c:v>
                </c:pt>
                <c:pt idx="51">
                  <c:v>20</c:v>
                </c:pt>
                <c:pt idx="52">
                  <c:v>19</c:v>
                </c:pt>
                <c:pt idx="53">
                  <c:v>18</c:v>
                </c:pt>
                <c:pt idx="54">
                  <c:v>17</c:v>
                </c:pt>
                <c:pt idx="55">
                  <c:v>17</c:v>
                </c:pt>
                <c:pt idx="56">
                  <c:v>17</c:v>
                </c:pt>
                <c:pt idx="57">
                  <c:v>14</c:v>
                </c:pt>
                <c:pt idx="58">
                  <c:v>10</c:v>
                </c:pt>
                <c:pt idx="59">
                  <c:v>10</c:v>
                </c:pt>
                <c:pt idx="60">
                  <c:v>10</c:v>
                </c:pt>
                <c:pt idx="61">
                  <c:v>1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61.102533691907539</c:v>
                </c:pt>
                <c:pt idx="27">
                  <c:v>58.341416977876932</c:v>
                </c:pt>
                <c:pt idx="28">
                  <c:v>55.771709900985698</c:v>
                </c:pt>
                <c:pt idx="29">
                  <c:v>53.330165230646095</c:v>
                </c:pt>
                <c:pt idx="30">
                  <c:v>51.053786234320235</c:v>
                </c:pt>
                <c:pt idx="31">
                  <c:v>48.985074913237042</c:v>
                </c:pt>
                <c:pt idx="32">
                  <c:v>47.04231013553413</c:v>
                </c:pt>
                <c:pt idx="33">
                  <c:v>45.233519289094644</c:v>
                </c:pt>
                <c:pt idx="34">
                  <c:v>43.506515431960572</c:v>
                </c:pt>
                <c:pt idx="35">
                  <c:v>41.86758694699661</c:v>
                </c:pt>
                <c:pt idx="36">
                  <c:v>40.298009818966847</c:v>
                </c:pt>
                <c:pt idx="37">
                  <c:v>38.818066334193979</c:v>
                </c:pt>
                <c:pt idx="38">
                  <c:v>37.409796006473016</c:v>
                </c:pt>
                <c:pt idx="39">
                  <c:v>36.03117551038703</c:v>
                </c:pt>
                <c:pt idx="40">
                  <c:v>34.718991432521456</c:v>
                </c:pt>
                <c:pt idx="41">
                  <c:v>33.425655832872366</c:v>
                </c:pt>
                <c:pt idx="42">
                  <c:v>32.159299276837579</c:v>
                </c:pt>
                <c:pt idx="43">
                  <c:v>30.912639553872147</c:v>
                </c:pt>
                <c:pt idx="44">
                  <c:v>29.697590837922615</c:v>
                </c:pt>
                <c:pt idx="45">
                  <c:v>28.517245020722527</c:v>
                </c:pt>
                <c:pt idx="46">
                  <c:v>27.369197921069084</c:v>
                </c:pt>
                <c:pt idx="47">
                  <c:v>26.252928502587359</c:v>
                </c:pt>
                <c:pt idx="48">
                  <c:v>25.158098874070902</c:v>
                </c:pt>
                <c:pt idx="49">
                  <c:v>24.096666387134132</c:v>
                </c:pt>
                <c:pt idx="50">
                  <c:v>23.051331153800767</c:v>
                </c:pt>
                <c:pt idx="51">
                  <c:v>22.039910662705221</c:v>
                </c:pt>
                <c:pt idx="52">
                  <c:v>21.065068106342675</c:v>
                </c:pt>
                <c:pt idx="53">
                  <c:v>20.129401048163178</c:v>
                </c:pt>
                <c:pt idx="54">
                  <c:v>19.21909927450087</c:v>
                </c:pt>
                <c:pt idx="55">
                  <c:v>18.341160405426852</c:v>
                </c:pt>
                <c:pt idx="56">
                  <c:v>17.497209713081606</c:v>
                </c:pt>
                <c:pt idx="57">
                  <c:v>16.68336130761271</c:v>
                </c:pt>
                <c:pt idx="58">
                  <c:v>15.898092834407134</c:v>
                </c:pt>
                <c:pt idx="59">
                  <c:v>15.141237090111172</c:v>
                </c:pt>
                <c:pt idx="60">
                  <c:v>14.423483847468781</c:v>
                </c:pt>
                <c:pt idx="61">
                  <c:v>13.73851072505928</c:v>
                </c:pt>
                <c:pt idx="62">
                  <c:v>13.079119238486516</c:v>
                </c:pt>
                <c:pt idx="63">
                  <c:v>12.453441436947761</c:v>
                </c:pt>
                <c:pt idx="64">
                  <c:v>11.847490499322348</c:v>
                </c:pt>
                <c:pt idx="65">
                  <c:v>11.270247498527208</c:v>
                </c:pt>
                <c:pt idx="66">
                  <c:v>10.721765579409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321-4139-88D6-247F1D25A65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61.149622070893258</c:v>
                </c:pt>
                <c:pt idx="27">
                  <c:v>58.475058980806331</c:v>
                </c:pt>
                <c:pt idx="28">
                  <c:v>56.02256383211467</c:v>
                </c:pt>
                <c:pt idx="29">
                  <c:v>53.722233601032826</c:v>
                </c:pt>
                <c:pt idx="30">
                  <c:v>51.615151752519395</c:v>
                </c:pt>
                <c:pt idx="31">
                  <c:v>49.74643080036946</c:v>
                </c:pt>
                <c:pt idx="32">
                  <c:v>48.037581096064699</c:v>
                </c:pt>
                <c:pt idx="33">
                  <c:v>46.497651778562684</c:v>
                </c:pt>
                <c:pt idx="34">
                  <c:v>45.066183224236568</c:v>
                </c:pt>
                <c:pt idx="35">
                  <c:v>43.7438491160569</c:v>
                </c:pt>
                <c:pt idx="36">
                  <c:v>42.508596171398928</c:v>
                </c:pt>
                <c:pt idx="37">
                  <c:v>41.379186792850774</c:v>
                </c:pt>
                <c:pt idx="38">
                  <c:v>40.334706186215925</c:v>
                </c:pt>
                <c:pt idx="39">
                  <c:v>39.328814004897055</c:v>
                </c:pt>
                <c:pt idx="40">
                  <c:v>38.392618667642679</c:v>
                </c:pt>
                <c:pt idx="41">
                  <c:v>37.473607759676568</c:v>
                </c:pt>
                <c:pt idx="42">
                  <c:v>36.577383447106179</c:v>
                </c:pt>
                <c:pt idx="43">
                  <c:v>35.693778813806233</c:v>
                </c:pt>
                <c:pt idx="44">
                  <c:v>34.832163865112243</c:v>
                </c:pt>
                <c:pt idx="45">
                  <c:v>33.993104888225815</c:v>
                </c:pt>
                <c:pt idx="46">
                  <c:v>33.172804899901763</c:v>
                </c:pt>
                <c:pt idx="47">
                  <c:v>32.368656965891311</c:v>
                </c:pt>
                <c:pt idx="48">
                  <c:v>31.568376136396211</c:v>
                </c:pt>
                <c:pt idx="49">
                  <c:v>30.783881702432666</c:v>
                </c:pt>
                <c:pt idx="50">
                  <c:v>29.996732060940857</c:v>
                </c:pt>
                <c:pt idx="51">
                  <c:v>29.22456155609607</c:v>
                </c:pt>
                <c:pt idx="52">
                  <c:v>28.46985342265053</c:v>
                </c:pt>
                <c:pt idx="53">
                  <c:v>27.735261375336698</c:v>
                </c:pt>
                <c:pt idx="54">
                  <c:v>27.007072382057224</c:v>
                </c:pt>
                <c:pt idx="55">
                  <c:v>26.292670332989928</c:v>
                </c:pt>
                <c:pt idx="56">
                  <c:v>25.5939518237819</c:v>
                </c:pt>
                <c:pt idx="57">
                  <c:v>24.90777536639354</c:v>
                </c:pt>
                <c:pt idx="58">
                  <c:v>24.233147669778148</c:v>
                </c:pt>
                <c:pt idx="59">
                  <c:v>23.570667631756979</c:v>
                </c:pt>
                <c:pt idx="60">
                  <c:v>22.931495699694818</c:v>
                </c:pt>
                <c:pt idx="61">
                  <c:v>22.310519932583183</c:v>
                </c:pt>
                <c:pt idx="62">
                  <c:v>21.700792339984332</c:v>
                </c:pt>
                <c:pt idx="63">
                  <c:v>21.111534473732345</c:v>
                </c:pt>
                <c:pt idx="64">
                  <c:v>20.529328660111737</c:v>
                </c:pt>
                <c:pt idx="65">
                  <c:v>19.963916061908414</c:v>
                </c:pt>
                <c:pt idx="66">
                  <c:v>19.4158055300815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21-4139-88D6-247F1D25A65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61.19635371973515</c:v>
                </c:pt>
                <c:pt idx="27">
                  <c:v>58.608239854541893</c:v>
                </c:pt>
                <c:pt idx="28">
                  <c:v>56.272886716647932</c:v>
                </c:pt>
                <c:pt idx="29">
                  <c:v>54.113709417078098</c:v>
                </c:pt>
                <c:pt idx="30">
                  <c:v>52.178010766213632</c:v>
                </c:pt>
                <c:pt idx="31">
                  <c:v>50.515573806718855</c:v>
                </c:pt>
                <c:pt idx="32">
                  <c:v>49.053029527774356</c:v>
                </c:pt>
                <c:pt idx="33">
                  <c:v>47.801431302498237</c:v>
                </c:pt>
                <c:pt idx="34">
                  <c:v>46.691761093886498</c:v>
                </c:pt>
                <c:pt idx="35">
                  <c:v>45.719044905590067</c:v>
                </c:pt>
                <c:pt idx="36">
                  <c:v>44.860316605363842</c:v>
                </c:pt>
                <c:pt idx="37">
                  <c:v>44.13509461271655</c:v>
                </c:pt>
                <c:pt idx="38">
                  <c:v>43.519704239232865</c:v>
                </c:pt>
                <c:pt idx="39">
                  <c:v>42.963508045970372</c:v>
                </c:pt>
                <c:pt idx="40">
                  <c:v>42.493116136869908</c:v>
                </c:pt>
                <c:pt idx="41">
                  <c:v>42.050979669610705</c:v>
                </c:pt>
                <c:pt idx="42">
                  <c:v>41.639445741213116</c:v>
                </c:pt>
                <c:pt idx="43">
                  <c:v>41.246569352795177</c:v>
                </c:pt>
                <c:pt idx="44">
                  <c:v>40.880167951971004</c:v>
                </c:pt>
                <c:pt idx="45">
                  <c:v>40.537536536877191</c:v>
                </c:pt>
                <c:pt idx="46">
                  <c:v>40.21131476385559</c:v>
                </c:pt>
                <c:pt idx="47">
                  <c:v>39.896540644052777</c:v>
                </c:pt>
                <c:pt idx="48">
                  <c:v>39.580027738513188</c:v>
                </c:pt>
                <c:pt idx="49">
                  <c:v>39.271643873944427</c:v>
                </c:pt>
                <c:pt idx="50">
                  <c:v>38.952333691414388</c:v>
                </c:pt>
                <c:pt idx="51">
                  <c:v>38.63805180903681</c:v>
                </c:pt>
                <c:pt idx="52">
                  <c:v>38.330512144531774</c:v>
                </c:pt>
                <c:pt idx="53">
                  <c:v>38.031357552896594</c:v>
                </c:pt>
                <c:pt idx="54">
                  <c:v>37.72626744284532</c:v>
                </c:pt>
                <c:pt idx="55">
                  <c:v>37.422960229825392</c:v>
                </c:pt>
                <c:pt idx="56">
                  <c:v>37.122438390510375</c:v>
                </c:pt>
                <c:pt idx="57">
                  <c:v>36.821237147279575</c:v>
                </c:pt>
                <c:pt idx="58">
                  <c:v>36.518898399975654</c:v>
                </c:pt>
                <c:pt idx="59">
                  <c:v>36.214929326263444</c:v>
                </c:pt>
                <c:pt idx="60">
                  <c:v>35.921200161545691</c:v>
                </c:pt>
                <c:pt idx="61">
                  <c:v>35.632387785493783</c:v>
                </c:pt>
                <c:pt idx="62">
                  <c:v>35.341821307792948</c:v>
                </c:pt>
                <c:pt idx="63">
                  <c:v>35.058756771818118</c:v>
                </c:pt>
                <c:pt idx="64">
                  <c:v>34.769847972474793</c:v>
                </c:pt>
                <c:pt idx="65">
                  <c:v>34.485497812544679</c:v>
                </c:pt>
                <c:pt idx="66">
                  <c:v>34.2060895076846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321-4139-88D6-247F1D25A65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61.266629558069909</c:v>
                </c:pt>
                <c:pt idx="27">
                  <c:v>58.808598459885971</c:v>
                </c:pt>
                <c:pt idx="28">
                  <c:v>56.649276061011442</c:v>
                </c:pt>
                <c:pt idx="29">
                  <c:v>54.701981029509355</c:v>
                </c:pt>
                <c:pt idx="30">
                  <c:v>53.028296664019997</c:v>
                </c:pt>
                <c:pt idx="31">
                  <c:v>51.68839412169676</c:v>
                </c:pt>
                <c:pt idx="32">
                  <c:v>50.619176601784972</c:v>
                </c:pt>
                <c:pt idx="33">
                  <c:v>49.837306617550176</c:v>
                </c:pt>
                <c:pt idx="34">
                  <c:v>49.260548360747777</c:v>
                </c:pt>
                <c:pt idx="35">
                  <c:v>48.877717450955821</c:v>
                </c:pt>
                <c:pt idx="36">
                  <c:v>48.6673503430331</c:v>
                </c:pt>
                <c:pt idx="37">
                  <c:v>48.655030063324354</c:v>
                </c:pt>
                <c:pt idx="38">
                  <c:v>48.816778716019428</c:v>
                </c:pt>
                <c:pt idx="39">
                  <c:v>49.09679939755614</c:v>
                </c:pt>
                <c:pt idx="40">
                  <c:v>49.514337384924858</c:v>
                </c:pt>
                <c:pt idx="41">
                  <c:v>50.006409587999229</c:v>
                </c:pt>
                <c:pt idx="42">
                  <c:v>50.574599578450595</c:v>
                </c:pt>
                <c:pt idx="43">
                  <c:v>51.206659211262654</c:v>
                </c:pt>
                <c:pt idx="44">
                  <c:v>51.908973716511596</c:v>
                </c:pt>
                <c:pt idx="45">
                  <c:v>52.674130595833475</c:v>
                </c:pt>
                <c:pt idx="46">
                  <c:v>53.491033184465927</c:v>
                </c:pt>
                <c:pt idx="47">
                  <c:v>54.351114433082742</c:v>
                </c:pt>
                <c:pt idx="48">
                  <c:v>55.240475494144249</c:v>
                </c:pt>
                <c:pt idx="49">
                  <c:v>56.16913156190283</c:v>
                </c:pt>
                <c:pt idx="50">
                  <c:v>57.116338553834112</c:v>
                </c:pt>
                <c:pt idx="51">
                  <c:v>58.095954263133585</c:v>
                </c:pt>
                <c:pt idx="52">
                  <c:v>59.107166674645079</c:v>
                </c:pt>
                <c:pt idx="53">
                  <c:v>60.150959459005456</c:v>
                </c:pt>
                <c:pt idx="54">
                  <c:v>61.213156046144618</c:v>
                </c:pt>
                <c:pt idx="55">
                  <c:v>62.301044610626711</c:v>
                </c:pt>
                <c:pt idx="56">
                  <c:v>63.415028691737987</c:v>
                </c:pt>
                <c:pt idx="57">
                  <c:v>64.550848903347173</c:v>
                </c:pt>
                <c:pt idx="58">
                  <c:v>65.707192035999157</c:v>
                </c:pt>
                <c:pt idx="59">
                  <c:v>66.884337702167613</c:v>
                </c:pt>
                <c:pt idx="60">
                  <c:v>68.093675194231736</c:v>
                </c:pt>
                <c:pt idx="61">
                  <c:v>69.329986634761951</c:v>
                </c:pt>
                <c:pt idx="62">
                  <c:v>70.58676658905587</c:v>
                </c:pt>
                <c:pt idx="63">
                  <c:v>71.87315354529936</c:v>
                </c:pt>
                <c:pt idx="64">
                  <c:v>73.175990604740349</c:v>
                </c:pt>
                <c:pt idx="65">
                  <c:v>74.505577846563227</c:v>
                </c:pt>
                <c:pt idx="66">
                  <c:v>75.8628994534117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321-4139-88D6-247F1D25A657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7</c:v>
                </c:pt>
                <c:pt idx="1">
                  <c:v>77</c:v>
                </c:pt>
                <c:pt idx="2">
                  <c:v>77</c:v>
                </c:pt>
                <c:pt idx="3">
                  <c:v>77</c:v>
                </c:pt>
                <c:pt idx="4">
                  <c:v>77</c:v>
                </c:pt>
                <c:pt idx="5">
                  <c:v>77</c:v>
                </c:pt>
                <c:pt idx="6">
                  <c:v>77</c:v>
                </c:pt>
                <c:pt idx="7">
                  <c:v>77</c:v>
                </c:pt>
                <c:pt idx="8">
                  <c:v>77</c:v>
                </c:pt>
                <c:pt idx="9">
                  <c:v>77</c:v>
                </c:pt>
                <c:pt idx="10">
                  <c:v>77</c:v>
                </c:pt>
                <c:pt idx="11">
                  <c:v>77</c:v>
                </c:pt>
                <c:pt idx="12">
                  <c:v>77</c:v>
                </c:pt>
                <c:pt idx="13">
                  <c:v>77</c:v>
                </c:pt>
                <c:pt idx="14">
                  <c:v>77</c:v>
                </c:pt>
                <c:pt idx="15">
                  <c:v>77</c:v>
                </c:pt>
                <c:pt idx="16">
                  <c:v>77</c:v>
                </c:pt>
                <c:pt idx="17">
                  <c:v>77</c:v>
                </c:pt>
                <c:pt idx="18">
                  <c:v>77</c:v>
                </c:pt>
                <c:pt idx="19">
                  <c:v>77</c:v>
                </c:pt>
                <c:pt idx="20">
                  <c:v>77</c:v>
                </c:pt>
                <c:pt idx="21">
                  <c:v>77</c:v>
                </c:pt>
                <c:pt idx="22">
                  <c:v>77</c:v>
                </c:pt>
                <c:pt idx="23">
                  <c:v>77</c:v>
                </c:pt>
                <c:pt idx="24">
                  <c:v>77</c:v>
                </c:pt>
                <c:pt idx="25">
                  <c:v>77</c:v>
                </c:pt>
                <c:pt idx="26">
                  <c:v>77</c:v>
                </c:pt>
                <c:pt idx="27">
                  <c:v>77</c:v>
                </c:pt>
                <c:pt idx="28">
                  <c:v>77</c:v>
                </c:pt>
                <c:pt idx="29">
                  <c:v>77</c:v>
                </c:pt>
                <c:pt idx="30">
                  <c:v>77</c:v>
                </c:pt>
                <c:pt idx="31">
                  <c:v>77</c:v>
                </c:pt>
                <c:pt idx="32">
                  <c:v>77</c:v>
                </c:pt>
                <c:pt idx="33">
                  <c:v>77</c:v>
                </c:pt>
                <c:pt idx="34">
                  <c:v>77</c:v>
                </c:pt>
                <c:pt idx="35">
                  <c:v>77</c:v>
                </c:pt>
                <c:pt idx="36">
                  <c:v>77</c:v>
                </c:pt>
                <c:pt idx="37">
                  <c:v>77</c:v>
                </c:pt>
                <c:pt idx="38">
                  <c:v>77</c:v>
                </c:pt>
                <c:pt idx="39">
                  <c:v>77</c:v>
                </c:pt>
                <c:pt idx="40">
                  <c:v>77</c:v>
                </c:pt>
                <c:pt idx="41">
                  <c:v>77</c:v>
                </c:pt>
                <c:pt idx="42">
                  <c:v>77</c:v>
                </c:pt>
                <c:pt idx="43">
                  <c:v>77</c:v>
                </c:pt>
                <c:pt idx="44">
                  <c:v>77</c:v>
                </c:pt>
                <c:pt idx="45">
                  <c:v>77</c:v>
                </c:pt>
                <c:pt idx="46">
                  <c:v>77</c:v>
                </c:pt>
                <c:pt idx="47">
                  <c:v>77</c:v>
                </c:pt>
                <c:pt idx="48">
                  <c:v>77</c:v>
                </c:pt>
                <c:pt idx="49">
                  <c:v>77</c:v>
                </c:pt>
                <c:pt idx="50">
                  <c:v>77</c:v>
                </c:pt>
                <c:pt idx="51">
                  <c:v>77</c:v>
                </c:pt>
                <c:pt idx="52">
                  <c:v>77</c:v>
                </c:pt>
                <c:pt idx="53">
                  <c:v>77</c:v>
                </c:pt>
                <c:pt idx="54">
                  <c:v>77</c:v>
                </c:pt>
                <c:pt idx="55">
                  <c:v>77</c:v>
                </c:pt>
                <c:pt idx="56">
                  <c:v>77</c:v>
                </c:pt>
                <c:pt idx="57">
                  <c:v>77</c:v>
                </c:pt>
                <c:pt idx="58">
                  <c:v>77</c:v>
                </c:pt>
                <c:pt idx="59">
                  <c:v>77</c:v>
                </c:pt>
                <c:pt idx="60">
                  <c:v>77</c:v>
                </c:pt>
                <c:pt idx="61">
                  <c:v>77</c:v>
                </c:pt>
                <c:pt idx="62">
                  <c:v>77</c:v>
                </c:pt>
                <c:pt idx="63">
                  <c:v>77</c:v>
                </c:pt>
                <c:pt idx="64">
                  <c:v>77</c:v>
                </c:pt>
                <c:pt idx="65">
                  <c:v>77</c:v>
                </c:pt>
                <c:pt idx="66">
                  <c:v>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3</c:v>
                </c:pt>
                <c:pt idx="1">
                  <c:v>132</c:v>
                </c:pt>
                <c:pt idx="2">
                  <c:v>144</c:v>
                </c:pt>
                <c:pt idx="3">
                  <c:v>140</c:v>
                </c:pt>
                <c:pt idx="4">
                  <c:v>139</c:v>
                </c:pt>
                <c:pt idx="5">
                  <c:v>143</c:v>
                </c:pt>
                <c:pt idx="6">
                  <c:v>142</c:v>
                </c:pt>
                <c:pt idx="7">
                  <c:v>134</c:v>
                </c:pt>
                <c:pt idx="8">
                  <c:v>130</c:v>
                </c:pt>
                <c:pt idx="9">
                  <c:v>124</c:v>
                </c:pt>
                <c:pt idx="10">
                  <c:v>123</c:v>
                </c:pt>
                <c:pt idx="11">
                  <c:v>121</c:v>
                </c:pt>
                <c:pt idx="12">
                  <c:v>126</c:v>
                </c:pt>
                <c:pt idx="13">
                  <c:v>128</c:v>
                </c:pt>
                <c:pt idx="14">
                  <c:v>110</c:v>
                </c:pt>
                <c:pt idx="15">
                  <c:v>115</c:v>
                </c:pt>
                <c:pt idx="16">
                  <c:v>111</c:v>
                </c:pt>
                <c:pt idx="17">
                  <c:v>108</c:v>
                </c:pt>
                <c:pt idx="18">
                  <c:v>114</c:v>
                </c:pt>
                <c:pt idx="19">
                  <c:v>109</c:v>
                </c:pt>
                <c:pt idx="20">
                  <c:v>101</c:v>
                </c:pt>
                <c:pt idx="21">
                  <c:v>83</c:v>
                </c:pt>
                <c:pt idx="22">
                  <c:v>87</c:v>
                </c:pt>
                <c:pt idx="23">
                  <c:v>80</c:v>
                </c:pt>
                <c:pt idx="24">
                  <c:v>86</c:v>
                </c:pt>
                <c:pt idx="25">
                  <c:v>82</c:v>
                </c:pt>
                <c:pt idx="26">
                  <c:v>81</c:v>
                </c:pt>
                <c:pt idx="27">
                  <c:v>76</c:v>
                </c:pt>
                <c:pt idx="28">
                  <c:v>71</c:v>
                </c:pt>
                <c:pt idx="29">
                  <c:v>66</c:v>
                </c:pt>
                <c:pt idx="30">
                  <c:v>66</c:v>
                </c:pt>
                <c:pt idx="31">
                  <c:v>63</c:v>
                </c:pt>
                <c:pt idx="32">
                  <c:v>65</c:v>
                </c:pt>
                <c:pt idx="33">
                  <c:v>65</c:v>
                </c:pt>
                <c:pt idx="34">
                  <c:v>61</c:v>
                </c:pt>
                <c:pt idx="35">
                  <c:v>53</c:v>
                </c:pt>
                <c:pt idx="36">
                  <c:v>51</c:v>
                </c:pt>
                <c:pt idx="37">
                  <c:v>48</c:v>
                </c:pt>
                <c:pt idx="38">
                  <c:v>51</c:v>
                </c:pt>
                <c:pt idx="39">
                  <c:v>49</c:v>
                </c:pt>
                <c:pt idx="40">
                  <c:v>42</c:v>
                </c:pt>
                <c:pt idx="41">
                  <c:v>37</c:v>
                </c:pt>
                <c:pt idx="42">
                  <c:v>39</c:v>
                </c:pt>
                <c:pt idx="43">
                  <c:v>39</c:v>
                </c:pt>
                <c:pt idx="44">
                  <c:v>32</c:v>
                </c:pt>
                <c:pt idx="45">
                  <c:v>30</c:v>
                </c:pt>
                <c:pt idx="46">
                  <c:v>31</c:v>
                </c:pt>
                <c:pt idx="47">
                  <c:v>33</c:v>
                </c:pt>
                <c:pt idx="48">
                  <c:v>24</c:v>
                </c:pt>
                <c:pt idx="49">
                  <c:v>23</c:v>
                </c:pt>
                <c:pt idx="50">
                  <c:v>24</c:v>
                </c:pt>
                <c:pt idx="51">
                  <c:v>23</c:v>
                </c:pt>
                <c:pt idx="52">
                  <c:v>23</c:v>
                </c:pt>
                <c:pt idx="53">
                  <c:v>22</c:v>
                </c:pt>
                <c:pt idx="54">
                  <c:v>19</c:v>
                </c:pt>
                <c:pt idx="55">
                  <c:v>20</c:v>
                </c:pt>
                <c:pt idx="56">
                  <c:v>18</c:v>
                </c:pt>
                <c:pt idx="57">
                  <c:v>17</c:v>
                </c:pt>
                <c:pt idx="58">
                  <c:v>17</c:v>
                </c:pt>
                <c:pt idx="59">
                  <c:v>15</c:v>
                </c:pt>
                <c:pt idx="60">
                  <c:v>12</c:v>
                </c:pt>
                <c:pt idx="61">
                  <c:v>12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8.798554071767299</c:v>
                </c:pt>
                <c:pt idx="27">
                  <c:v>75.328019394561068</c:v>
                </c:pt>
                <c:pt idx="28">
                  <c:v>72.11361971787268</c:v>
                </c:pt>
                <c:pt idx="29">
                  <c:v>69.033565063447014</c:v>
                </c:pt>
                <c:pt idx="30">
                  <c:v>66.154901345677189</c:v>
                </c:pt>
                <c:pt idx="31">
                  <c:v>63.540768796503485</c:v>
                </c:pt>
                <c:pt idx="32">
                  <c:v>61.072723418992801</c:v>
                </c:pt>
                <c:pt idx="33">
                  <c:v>58.772756834641903</c:v>
                </c:pt>
                <c:pt idx="34">
                  <c:v>56.578690656801243</c:v>
                </c:pt>
                <c:pt idx="35">
                  <c:v>54.503760291508385</c:v>
                </c:pt>
                <c:pt idx="36">
                  <c:v>52.496077811106744</c:v>
                </c:pt>
                <c:pt idx="37">
                  <c:v>50.603358839586534</c:v>
                </c:pt>
                <c:pt idx="38">
                  <c:v>48.791294970788719</c:v>
                </c:pt>
                <c:pt idx="39">
                  <c:v>47.007280000005338</c:v>
                </c:pt>
                <c:pt idx="40">
                  <c:v>45.307646371714242</c:v>
                </c:pt>
                <c:pt idx="41">
                  <c:v>43.628804035171257</c:v>
                </c:pt>
                <c:pt idx="42">
                  <c:v>41.983047789428376</c:v>
                </c:pt>
                <c:pt idx="43">
                  <c:v>40.355023445280409</c:v>
                </c:pt>
                <c:pt idx="44">
                  <c:v>38.766320378197662</c:v>
                </c:pt>
                <c:pt idx="45">
                  <c:v>37.208909163189482</c:v>
                </c:pt>
                <c:pt idx="46">
                  <c:v>35.692695808340943</c:v>
                </c:pt>
                <c:pt idx="47">
                  <c:v>34.21669618958272</c:v>
                </c:pt>
                <c:pt idx="48">
                  <c:v>32.76717088950204</c:v>
                </c:pt>
                <c:pt idx="49">
                  <c:v>31.362150094485528</c:v>
                </c:pt>
                <c:pt idx="50">
                  <c:v>29.976281851133063</c:v>
                </c:pt>
                <c:pt idx="51">
                  <c:v>28.63201923601687</c:v>
                </c:pt>
                <c:pt idx="52">
                  <c:v>27.332710232527909</c:v>
                </c:pt>
                <c:pt idx="53">
                  <c:v>26.081969210635986</c:v>
                </c:pt>
                <c:pt idx="54">
                  <c:v>24.862130873736419</c:v>
                </c:pt>
                <c:pt idx="55">
                  <c:v>23.688523910155766</c:v>
                </c:pt>
                <c:pt idx="56">
                  <c:v>22.558120166731783</c:v>
                </c:pt>
                <c:pt idx="57">
                  <c:v>21.467861359131803</c:v>
                </c:pt>
                <c:pt idx="58">
                  <c:v>20.41470588832086</c:v>
                </c:pt>
                <c:pt idx="59">
                  <c:v>19.401584144979328</c:v>
                </c:pt>
                <c:pt idx="60">
                  <c:v>18.437734696029107</c:v>
                </c:pt>
                <c:pt idx="61">
                  <c:v>17.514905860639999</c:v>
                </c:pt>
                <c:pt idx="62">
                  <c:v>16.628971614332492</c:v>
                </c:pt>
                <c:pt idx="63">
                  <c:v>15.788113714142284</c:v>
                </c:pt>
                <c:pt idx="64">
                  <c:v>14.971976042904501</c:v>
                </c:pt>
                <c:pt idx="65">
                  <c:v>14.194969026274286</c:v>
                </c:pt>
                <c:pt idx="66">
                  <c:v>13.455799014087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53-458F-98A4-59C0F390179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8.859427409008219</c:v>
                </c:pt>
                <c:pt idx="27">
                  <c:v>75.50057772409923</c:v>
                </c:pt>
                <c:pt idx="28">
                  <c:v>72.437827808368581</c:v>
                </c:pt>
                <c:pt idx="29">
                  <c:v>69.540835224617027</c:v>
                </c:pt>
                <c:pt idx="30">
                  <c:v>66.882073028746092</c:v>
                </c:pt>
                <c:pt idx="31">
                  <c:v>64.528396362544612</c:v>
                </c:pt>
                <c:pt idx="32">
                  <c:v>62.366044657448384</c:v>
                </c:pt>
                <c:pt idx="33">
                  <c:v>60.418442545322343</c:v>
                </c:pt>
                <c:pt idx="34">
                  <c:v>58.612742989113748</c:v>
                </c:pt>
                <c:pt idx="35">
                  <c:v>56.955164519698592</c:v>
                </c:pt>
                <c:pt idx="36">
                  <c:v>55.389372253892546</c:v>
                </c:pt>
                <c:pt idx="37">
                  <c:v>53.960750200012654</c:v>
                </c:pt>
                <c:pt idx="38">
                  <c:v>52.631146744004475</c:v>
                </c:pt>
                <c:pt idx="39">
                  <c:v>51.342182549643127</c:v>
                </c:pt>
                <c:pt idx="40">
                  <c:v>50.142862444952016</c:v>
                </c:pt>
                <c:pt idx="41">
                  <c:v>48.962858803047432</c:v>
                </c:pt>
                <c:pt idx="42">
                  <c:v>47.810990603663896</c:v>
                </c:pt>
                <c:pt idx="43">
                  <c:v>46.668040315691272</c:v>
                </c:pt>
                <c:pt idx="44">
                  <c:v>45.552162904858037</c:v>
                </c:pt>
                <c:pt idx="45">
                  <c:v>44.451980656115495</c:v>
                </c:pt>
                <c:pt idx="46">
                  <c:v>43.375428532113801</c:v>
                </c:pt>
                <c:pt idx="47">
                  <c:v>42.31868055627325</c:v>
                </c:pt>
                <c:pt idx="48">
                  <c:v>41.265389893888809</c:v>
                </c:pt>
                <c:pt idx="49">
                  <c:v>40.233460119098964</c:v>
                </c:pt>
                <c:pt idx="50">
                  <c:v>39.195923210929067</c:v>
                </c:pt>
                <c:pt idx="51">
                  <c:v>38.174924567869802</c:v>
                </c:pt>
                <c:pt idx="52">
                  <c:v>37.173497609634786</c:v>
                </c:pt>
                <c:pt idx="53">
                  <c:v>36.195266378352756</c:v>
                </c:pt>
                <c:pt idx="54">
                  <c:v>35.222639519438026</c:v>
                </c:pt>
                <c:pt idx="55">
                  <c:v>34.271478357483346</c:v>
                </c:pt>
                <c:pt idx="56">
                  <c:v>33.339110209044193</c:v>
                </c:pt>
                <c:pt idx="57">
                  <c:v>32.423397476932081</c:v>
                </c:pt>
                <c:pt idx="58">
                  <c:v>31.521976342079796</c:v>
                </c:pt>
                <c:pt idx="59">
                  <c:v>30.638754712897526</c:v>
                </c:pt>
                <c:pt idx="60">
                  <c:v>29.783598095576206</c:v>
                </c:pt>
                <c:pt idx="61">
                  <c:v>28.949854271230659</c:v>
                </c:pt>
                <c:pt idx="62">
                  <c:v>28.133742762368549</c:v>
                </c:pt>
                <c:pt idx="63">
                  <c:v>27.344902058085225</c:v>
                </c:pt>
                <c:pt idx="64">
                  <c:v>26.563708665208537</c:v>
                </c:pt>
                <c:pt idx="65">
                  <c:v>25.805582831375919</c:v>
                </c:pt>
                <c:pt idx="66">
                  <c:v>25.0698558182036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53-458F-98A4-59C0F390179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8.919839584603366</c:v>
                </c:pt>
                <c:pt idx="27">
                  <c:v>75.672541497926787</c:v>
                </c:pt>
                <c:pt idx="28">
                  <c:v>72.761347592458378</c:v>
                </c:pt>
                <c:pt idx="29">
                  <c:v>70.047336035291195</c:v>
                </c:pt>
                <c:pt idx="30">
                  <c:v>67.611169640450584</c:v>
                </c:pt>
                <c:pt idx="31">
                  <c:v>65.526070761163311</c:v>
                </c:pt>
                <c:pt idx="32">
                  <c:v>63.68541886058366</c:v>
                </c:pt>
                <c:pt idx="33">
                  <c:v>62.115362911219208</c:v>
                </c:pt>
                <c:pt idx="34">
                  <c:v>60.732047926749857</c:v>
                </c:pt>
                <c:pt idx="35">
                  <c:v>59.534679237818807</c:v>
                </c:pt>
                <c:pt idx="36">
                  <c:v>58.465659350323115</c:v>
                </c:pt>
                <c:pt idx="37">
                  <c:v>57.571036763037554</c:v>
                </c:pt>
                <c:pt idx="38">
                  <c:v>56.809136057171727</c:v>
                </c:pt>
                <c:pt idx="39">
                  <c:v>56.115906615127578</c:v>
                </c:pt>
                <c:pt idx="40">
                  <c:v>55.534588569082942</c:v>
                </c:pt>
                <c:pt idx="41">
                  <c:v>54.988004933220751</c:v>
                </c:pt>
                <c:pt idx="42">
                  <c:v>54.480612640601336</c:v>
                </c:pt>
                <c:pt idx="43">
                  <c:v>53.990785055920952</c:v>
                </c:pt>
                <c:pt idx="44">
                  <c:v>53.534533037218829</c:v>
                </c:pt>
                <c:pt idx="45">
                  <c:v>53.096197562543963</c:v>
                </c:pt>
                <c:pt idx="46">
                  <c:v>52.678966462537005</c:v>
                </c:pt>
                <c:pt idx="47">
                  <c:v>52.27581206171746</c:v>
                </c:pt>
                <c:pt idx="48">
                  <c:v>51.869100778583942</c:v>
                </c:pt>
                <c:pt idx="49">
                  <c:v>51.474015411655671</c:v>
                </c:pt>
                <c:pt idx="50">
                  <c:v>51.062675710426682</c:v>
                </c:pt>
                <c:pt idx="51">
                  <c:v>50.654928511867155</c:v>
                </c:pt>
                <c:pt idx="52">
                  <c:v>50.252717513255163</c:v>
                </c:pt>
                <c:pt idx="53">
                  <c:v>49.858278268614555</c:v>
                </c:pt>
                <c:pt idx="54">
                  <c:v>49.453161412915222</c:v>
                </c:pt>
                <c:pt idx="55">
                  <c:v>49.053645508931126</c:v>
                </c:pt>
                <c:pt idx="56">
                  <c:v>48.655877410540299</c:v>
                </c:pt>
                <c:pt idx="57">
                  <c:v>48.257251799920255</c:v>
                </c:pt>
                <c:pt idx="58">
                  <c:v>47.856045043350505</c:v>
                </c:pt>
                <c:pt idx="59">
                  <c:v>47.454702331140112</c:v>
                </c:pt>
                <c:pt idx="60">
                  <c:v>47.064011187629788</c:v>
                </c:pt>
                <c:pt idx="61">
                  <c:v>46.677033895385705</c:v>
                </c:pt>
                <c:pt idx="62">
                  <c:v>46.290364885969325</c:v>
                </c:pt>
                <c:pt idx="63">
                  <c:v>45.913675710389384</c:v>
                </c:pt>
                <c:pt idx="64">
                  <c:v>45.527419694796535</c:v>
                </c:pt>
                <c:pt idx="65">
                  <c:v>45.147852866008265</c:v>
                </c:pt>
                <c:pt idx="66">
                  <c:v>44.7741528634578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853-458F-98A4-59C0F390179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79.010688428818966</c:v>
                </c:pt>
                <c:pt idx="27">
                  <c:v>75.931245598169198</c:v>
                </c:pt>
                <c:pt idx="28">
                  <c:v>73.247796558329611</c:v>
                </c:pt>
                <c:pt idx="29">
                  <c:v>70.80845751081182</c:v>
                </c:pt>
                <c:pt idx="30">
                  <c:v>68.712574764543533</c:v>
                </c:pt>
                <c:pt idx="31">
                  <c:v>67.047272875168233</c:v>
                </c:pt>
                <c:pt idx="32">
                  <c:v>65.72003050712361</c:v>
                </c:pt>
                <c:pt idx="33">
                  <c:v>64.764480911381128</c:v>
                </c:pt>
                <c:pt idx="34">
                  <c:v>64.079809584141188</c:v>
                </c:pt>
                <c:pt idx="35">
                  <c:v>63.657725955738059</c:v>
                </c:pt>
                <c:pt idx="36">
                  <c:v>63.442552438934491</c:v>
                </c:pt>
                <c:pt idx="37">
                  <c:v>63.487831564757826</c:v>
                </c:pt>
                <c:pt idx="38">
                  <c:v>63.751677212772606</c:v>
                </c:pt>
                <c:pt idx="39">
                  <c:v>64.16334308365002</c:v>
                </c:pt>
                <c:pt idx="40">
                  <c:v>64.756749145484889</c:v>
                </c:pt>
                <c:pt idx="41">
                  <c:v>65.447282339174095</c:v>
                </c:pt>
                <c:pt idx="42">
                  <c:v>66.238274219574578</c:v>
                </c:pt>
                <c:pt idx="43">
                  <c:v>67.107635023019682</c:v>
                </c:pt>
                <c:pt idx="44">
                  <c:v>68.069450621638467</c:v>
                </c:pt>
                <c:pt idx="45">
                  <c:v>69.101984595976262</c:v>
                </c:pt>
                <c:pt idx="46">
                  <c:v>70.20344476107627</c:v>
                </c:pt>
                <c:pt idx="47">
                  <c:v>71.361988151109529</c:v>
                </c:pt>
                <c:pt idx="48">
                  <c:v>72.558944325236837</c:v>
                </c:pt>
                <c:pt idx="49">
                  <c:v>73.809634384538413</c:v>
                </c:pt>
                <c:pt idx="50">
                  <c:v>75.083859257490133</c:v>
                </c:pt>
                <c:pt idx="51">
                  <c:v>76.398657209368153</c:v>
                </c:pt>
                <c:pt idx="52">
                  <c:v>77.752587829460566</c:v>
                </c:pt>
                <c:pt idx="53">
                  <c:v>79.146932153864498</c:v>
                </c:pt>
                <c:pt idx="54">
                  <c:v>80.563326794687782</c:v>
                </c:pt>
                <c:pt idx="55">
                  <c:v>82.017522182098162</c:v>
                </c:pt>
                <c:pt idx="56">
                  <c:v>83.504880532433845</c:v>
                </c:pt>
                <c:pt idx="57">
                  <c:v>85.021669449264834</c:v>
                </c:pt>
                <c:pt idx="58">
                  <c:v>86.565002529397731</c:v>
                </c:pt>
                <c:pt idx="59">
                  <c:v>88.13825472342711</c:v>
                </c:pt>
                <c:pt idx="60">
                  <c:v>89.751580802488931</c:v>
                </c:pt>
                <c:pt idx="61">
                  <c:v>91.398190304107061</c:v>
                </c:pt>
                <c:pt idx="62">
                  <c:v>93.074894952591194</c:v>
                </c:pt>
                <c:pt idx="63">
                  <c:v>94.79121577394838</c:v>
                </c:pt>
                <c:pt idx="64">
                  <c:v>96.527798468212779</c:v>
                </c:pt>
                <c:pt idx="65">
                  <c:v>98.300752236086851</c:v>
                </c:pt>
                <c:pt idx="66">
                  <c:v>100.11004664013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53-458F-98A4-59C0F390179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84</c:v>
                </c:pt>
                <c:pt idx="1">
                  <c:v>184</c:v>
                </c:pt>
                <c:pt idx="2">
                  <c:v>184</c:v>
                </c:pt>
                <c:pt idx="3">
                  <c:v>184</c:v>
                </c:pt>
                <c:pt idx="4">
                  <c:v>184</c:v>
                </c:pt>
                <c:pt idx="5">
                  <c:v>184</c:v>
                </c:pt>
                <c:pt idx="6">
                  <c:v>184</c:v>
                </c:pt>
                <c:pt idx="7">
                  <c:v>184</c:v>
                </c:pt>
                <c:pt idx="8">
                  <c:v>184</c:v>
                </c:pt>
                <c:pt idx="9">
                  <c:v>184</c:v>
                </c:pt>
                <c:pt idx="10">
                  <c:v>184</c:v>
                </c:pt>
                <c:pt idx="11">
                  <c:v>184</c:v>
                </c:pt>
                <c:pt idx="12">
                  <c:v>184</c:v>
                </c:pt>
                <c:pt idx="13">
                  <c:v>184</c:v>
                </c:pt>
                <c:pt idx="14">
                  <c:v>184</c:v>
                </c:pt>
                <c:pt idx="15">
                  <c:v>184</c:v>
                </c:pt>
                <c:pt idx="16">
                  <c:v>184</c:v>
                </c:pt>
                <c:pt idx="17">
                  <c:v>184</c:v>
                </c:pt>
                <c:pt idx="18">
                  <c:v>184</c:v>
                </c:pt>
                <c:pt idx="19">
                  <c:v>184</c:v>
                </c:pt>
                <c:pt idx="20">
                  <c:v>184</c:v>
                </c:pt>
                <c:pt idx="21">
                  <c:v>184</c:v>
                </c:pt>
                <c:pt idx="22">
                  <c:v>184</c:v>
                </c:pt>
                <c:pt idx="23">
                  <c:v>184</c:v>
                </c:pt>
                <c:pt idx="24">
                  <c:v>184</c:v>
                </c:pt>
                <c:pt idx="25">
                  <c:v>184</c:v>
                </c:pt>
                <c:pt idx="26">
                  <c:v>184</c:v>
                </c:pt>
                <c:pt idx="27">
                  <c:v>184</c:v>
                </c:pt>
                <c:pt idx="28">
                  <c:v>184</c:v>
                </c:pt>
                <c:pt idx="29">
                  <c:v>184</c:v>
                </c:pt>
                <c:pt idx="30">
                  <c:v>184</c:v>
                </c:pt>
                <c:pt idx="31">
                  <c:v>184</c:v>
                </c:pt>
                <c:pt idx="32">
                  <c:v>184</c:v>
                </c:pt>
                <c:pt idx="33">
                  <c:v>184</c:v>
                </c:pt>
                <c:pt idx="34">
                  <c:v>184</c:v>
                </c:pt>
                <c:pt idx="35">
                  <c:v>184</c:v>
                </c:pt>
                <c:pt idx="36">
                  <c:v>184</c:v>
                </c:pt>
                <c:pt idx="37">
                  <c:v>184</c:v>
                </c:pt>
                <c:pt idx="38">
                  <c:v>184</c:v>
                </c:pt>
                <c:pt idx="39">
                  <c:v>184</c:v>
                </c:pt>
                <c:pt idx="40">
                  <c:v>184</c:v>
                </c:pt>
                <c:pt idx="41">
                  <c:v>184</c:v>
                </c:pt>
                <c:pt idx="42">
                  <c:v>184</c:v>
                </c:pt>
                <c:pt idx="43">
                  <c:v>184</c:v>
                </c:pt>
                <c:pt idx="44">
                  <c:v>184</c:v>
                </c:pt>
                <c:pt idx="45">
                  <c:v>184</c:v>
                </c:pt>
                <c:pt idx="46">
                  <c:v>184</c:v>
                </c:pt>
                <c:pt idx="47">
                  <c:v>184</c:v>
                </c:pt>
                <c:pt idx="48">
                  <c:v>184</c:v>
                </c:pt>
                <c:pt idx="49">
                  <c:v>184</c:v>
                </c:pt>
                <c:pt idx="50">
                  <c:v>184</c:v>
                </c:pt>
                <c:pt idx="51">
                  <c:v>184</c:v>
                </c:pt>
                <c:pt idx="52">
                  <c:v>184</c:v>
                </c:pt>
                <c:pt idx="53">
                  <c:v>184</c:v>
                </c:pt>
                <c:pt idx="54">
                  <c:v>184</c:v>
                </c:pt>
                <c:pt idx="55">
                  <c:v>184</c:v>
                </c:pt>
                <c:pt idx="56">
                  <c:v>184</c:v>
                </c:pt>
                <c:pt idx="57">
                  <c:v>184</c:v>
                </c:pt>
                <c:pt idx="58">
                  <c:v>184</c:v>
                </c:pt>
                <c:pt idx="59">
                  <c:v>184</c:v>
                </c:pt>
                <c:pt idx="60">
                  <c:v>184</c:v>
                </c:pt>
                <c:pt idx="61">
                  <c:v>184</c:v>
                </c:pt>
                <c:pt idx="62">
                  <c:v>184</c:v>
                </c:pt>
                <c:pt idx="63">
                  <c:v>184</c:v>
                </c:pt>
                <c:pt idx="64">
                  <c:v>184</c:v>
                </c:pt>
                <c:pt idx="65">
                  <c:v>184</c:v>
                </c:pt>
                <c:pt idx="66">
                  <c:v>1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5</c:v>
                </c:pt>
                <c:pt idx="1">
                  <c:v>245</c:v>
                </c:pt>
                <c:pt idx="2">
                  <c:v>358</c:v>
                </c:pt>
                <c:pt idx="3">
                  <c:v>465</c:v>
                </c:pt>
                <c:pt idx="4">
                  <c:v>563</c:v>
                </c:pt>
                <c:pt idx="5">
                  <c:v>694</c:v>
                </c:pt>
                <c:pt idx="6">
                  <c:v>824</c:v>
                </c:pt>
                <c:pt idx="7">
                  <c:v>940</c:v>
                </c:pt>
                <c:pt idx="8">
                  <c:v>1041</c:v>
                </c:pt>
                <c:pt idx="9">
                  <c:v>1139</c:v>
                </c:pt>
                <c:pt idx="10">
                  <c:v>1219</c:v>
                </c:pt>
                <c:pt idx="11">
                  <c:v>1314</c:v>
                </c:pt>
                <c:pt idx="12">
                  <c:v>1411</c:v>
                </c:pt>
                <c:pt idx="13">
                  <c:v>1509</c:v>
                </c:pt>
                <c:pt idx="14">
                  <c:v>1591</c:v>
                </c:pt>
                <c:pt idx="15">
                  <c:v>1688</c:v>
                </c:pt>
                <c:pt idx="16">
                  <c:v>1746</c:v>
                </c:pt>
                <c:pt idx="17">
                  <c:v>1805</c:v>
                </c:pt>
                <c:pt idx="18">
                  <c:v>1898</c:v>
                </c:pt>
                <c:pt idx="19">
                  <c:v>1973</c:v>
                </c:pt>
                <c:pt idx="20">
                  <c:v>2040</c:v>
                </c:pt>
                <c:pt idx="21">
                  <c:v>2112</c:v>
                </c:pt>
                <c:pt idx="22">
                  <c:v>2173</c:v>
                </c:pt>
                <c:pt idx="23">
                  <c:v>2216</c:v>
                </c:pt>
                <c:pt idx="24">
                  <c:v>2269</c:v>
                </c:pt>
                <c:pt idx="25">
                  <c:v>2320</c:v>
                </c:pt>
                <c:pt idx="26">
                  <c:v>2373</c:v>
                </c:pt>
                <c:pt idx="27">
                  <c:v>2443</c:v>
                </c:pt>
                <c:pt idx="28">
                  <c:v>2490</c:v>
                </c:pt>
                <c:pt idx="29">
                  <c:v>2538</c:v>
                </c:pt>
                <c:pt idx="30">
                  <c:v>2570</c:v>
                </c:pt>
                <c:pt idx="31">
                  <c:v>2615</c:v>
                </c:pt>
                <c:pt idx="32">
                  <c:v>2659</c:v>
                </c:pt>
                <c:pt idx="33">
                  <c:v>2709</c:v>
                </c:pt>
                <c:pt idx="34">
                  <c:v>2753</c:v>
                </c:pt>
                <c:pt idx="35">
                  <c:v>2786</c:v>
                </c:pt>
                <c:pt idx="36">
                  <c:v>2821</c:v>
                </c:pt>
                <c:pt idx="37">
                  <c:v>2848</c:v>
                </c:pt>
                <c:pt idx="38">
                  <c:v>2881</c:v>
                </c:pt>
                <c:pt idx="39">
                  <c:v>2913</c:v>
                </c:pt>
                <c:pt idx="40">
                  <c:v>2954</c:v>
                </c:pt>
                <c:pt idx="41">
                  <c:v>2982</c:v>
                </c:pt>
                <c:pt idx="42">
                  <c:v>3007</c:v>
                </c:pt>
                <c:pt idx="43">
                  <c:v>3038</c:v>
                </c:pt>
                <c:pt idx="44">
                  <c:v>3055</c:v>
                </c:pt>
                <c:pt idx="45">
                  <c:v>3071</c:v>
                </c:pt>
                <c:pt idx="46">
                  <c:v>3093</c:v>
                </c:pt>
                <c:pt idx="47">
                  <c:v>3115</c:v>
                </c:pt>
                <c:pt idx="48">
                  <c:v>3136</c:v>
                </c:pt>
                <c:pt idx="49">
                  <c:v>3148</c:v>
                </c:pt>
                <c:pt idx="50">
                  <c:v>3165</c:v>
                </c:pt>
                <c:pt idx="51">
                  <c:v>3181</c:v>
                </c:pt>
                <c:pt idx="52">
                  <c:v>3189</c:v>
                </c:pt>
                <c:pt idx="53">
                  <c:v>3204</c:v>
                </c:pt>
                <c:pt idx="54">
                  <c:v>3213</c:v>
                </c:pt>
                <c:pt idx="55">
                  <c:v>3229</c:v>
                </c:pt>
                <c:pt idx="56">
                  <c:v>3238</c:v>
                </c:pt>
                <c:pt idx="57">
                  <c:v>3242</c:v>
                </c:pt>
                <c:pt idx="58">
                  <c:v>3246</c:v>
                </c:pt>
                <c:pt idx="59">
                  <c:v>3254</c:v>
                </c:pt>
                <c:pt idx="60">
                  <c:v>3262</c:v>
                </c:pt>
                <c:pt idx="61">
                  <c:v>3266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366.2166705768595</c:v>
                </c:pt>
                <c:pt idx="27">
                  <c:v>2410.3285723195495</c:v>
                </c:pt>
                <c:pt idx="28">
                  <c:v>2453.4425131911976</c:v>
                </c:pt>
                <c:pt idx="29">
                  <c:v>2495.3014685608596</c:v>
                </c:pt>
                <c:pt idx="30">
                  <c:v>2536.0050984415175</c:v>
                </c:pt>
                <c:pt idx="31">
                  <c:v>2576.0211981351949</c:v>
                </c:pt>
                <c:pt idx="32">
                  <c:v>2615.1872863520875</c:v>
                </c:pt>
                <c:pt idx="33">
                  <c:v>2653.3139211597645</c:v>
                </c:pt>
                <c:pt idx="34">
                  <c:v>2690.3832796204915</c:v>
                </c:pt>
                <c:pt idx="35">
                  <c:v>2726.3801988514806</c:v>
                </c:pt>
                <c:pt idx="36">
                  <c:v>2761.1854854352023</c:v>
                </c:pt>
                <c:pt idx="37">
                  <c:v>2794.8063262051182</c:v>
                </c:pt>
                <c:pt idx="38">
                  <c:v>2827.224584781723</c:v>
                </c:pt>
                <c:pt idx="39">
                  <c:v>2858.3978570046602</c:v>
                </c:pt>
                <c:pt idx="40">
                  <c:v>2888.2803376006814</c:v>
                </c:pt>
                <c:pt idx="41">
                  <c:v>2916.856521433996</c:v>
                </c:pt>
                <c:pt idx="42">
                  <c:v>2944.1256027534273</c:v>
                </c:pt>
                <c:pt idx="43">
                  <c:v>2970.1379766045648</c:v>
                </c:pt>
                <c:pt idx="44">
                  <c:v>2994.9477061743419</c:v>
                </c:pt>
                <c:pt idx="45">
                  <c:v>3018.6598910220946</c:v>
                </c:pt>
                <c:pt idx="46">
                  <c:v>3041.2928219571731</c:v>
                </c:pt>
                <c:pt idx="47">
                  <c:v>3062.857349191112</c:v>
                </c:pt>
                <c:pt idx="48">
                  <c:v>3083.4243468020959</c:v>
                </c:pt>
                <c:pt idx="49">
                  <c:v>3103.0388284126329</c:v>
                </c:pt>
                <c:pt idx="50">
                  <c:v>3121.7200215762387</c:v>
                </c:pt>
                <c:pt idx="51">
                  <c:v>3139.5158969560416</c:v>
                </c:pt>
                <c:pt idx="52">
                  <c:v>3156.4915911673834</c:v>
                </c:pt>
                <c:pt idx="53">
                  <c:v>3172.6966860405937</c:v>
                </c:pt>
                <c:pt idx="54">
                  <c:v>3188.1503638680733</c:v>
                </c:pt>
                <c:pt idx="55">
                  <c:v>3202.8922018524299</c:v>
                </c:pt>
                <c:pt idx="56">
                  <c:v>3216.9570551024863</c:v>
                </c:pt>
                <c:pt idx="57">
                  <c:v>3230.3771455562382</c:v>
                </c:pt>
                <c:pt idx="58">
                  <c:v>3243.1829925795992</c:v>
                </c:pt>
                <c:pt idx="59">
                  <c:v>3255.4077857157081</c:v>
                </c:pt>
                <c:pt idx="60">
                  <c:v>3267.0804636830399</c:v>
                </c:pt>
                <c:pt idx="61">
                  <c:v>3278.2275962243402</c:v>
                </c:pt>
                <c:pt idx="62">
                  <c:v>3288.8791347442966</c:v>
                </c:pt>
                <c:pt idx="63">
                  <c:v>3299.0566829079125</c:v>
                </c:pt>
                <c:pt idx="64">
                  <c:v>3308.7871187117053</c:v>
                </c:pt>
                <c:pt idx="65">
                  <c:v>3318.0897656922807</c:v>
                </c:pt>
                <c:pt idx="66">
                  <c:v>3326.9899372054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08-4AD1-9874-A186BE69DB4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366.7796113718287</c:v>
                </c:pt>
                <c:pt idx="27">
                  <c:v>2411.9628162485424</c:v>
                </c:pt>
                <c:pt idx="28">
                  <c:v>2456.589119639093</c:v>
                </c:pt>
                <c:pt idx="29">
                  <c:v>2500.3514622450675</c:v>
                </c:pt>
                <c:pt idx="30">
                  <c:v>2543.4230050539645</c:v>
                </c:pt>
                <c:pt idx="31">
                  <c:v>2586.3315269078921</c:v>
                </c:pt>
                <c:pt idx="32">
                  <c:v>2628.9867857296431</c:v>
                </c:pt>
                <c:pt idx="33">
                  <c:v>2671.2468336867023</c:v>
                </c:pt>
                <c:pt idx="34">
                  <c:v>2713.0330634182446</c:v>
                </c:pt>
                <c:pt idx="35">
                  <c:v>2754.2941125988964</c:v>
                </c:pt>
                <c:pt idx="36">
                  <c:v>2794.8949829944868</c:v>
                </c:pt>
                <c:pt idx="37">
                  <c:v>2834.8447234038176</c:v>
                </c:pt>
                <c:pt idx="38">
                  <c:v>2874.1122142433924</c:v>
                </c:pt>
                <c:pt idx="39">
                  <c:v>2912.6209988113133</c:v>
                </c:pt>
                <c:pt idx="40">
                  <c:v>2950.2751433141366</c:v>
                </c:pt>
                <c:pt idx="41">
                  <c:v>2987.0094393679738</c:v>
                </c:pt>
                <c:pt idx="42">
                  <c:v>3022.7968194248097</c:v>
                </c:pt>
                <c:pt idx="43">
                  <c:v>3057.6561386111498</c:v>
                </c:pt>
                <c:pt idx="44">
                  <c:v>3091.6091830055411</c:v>
                </c:pt>
                <c:pt idx="45">
                  <c:v>3124.7282871152074</c:v>
                </c:pt>
                <c:pt idx="46">
                  <c:v>3157.0064813347217</c:v>
                </c:pt>
                <c:pt idx="47">
                  <c:v>3188.4210912161761</c:v>
                </c:pt>
                <c:pt idx="48">
                  <c:v>3219.0062636137409</c:v>
                </c:pt>
                <c:pt idx="49">
                  <c:v>3248.7913964131258</c:v>
                </c:pt>
                <c:pt idx="50">
                  <c:v>3277.7659280612352</c:v>
                </c:pt>
                <c:pt idx="51">
                  <c:v>3305.9571966771982</c:v>
                </c:pt>
                <c:pt idx="52">
                  <c:v>3333.4089646731118</c:v>
                </c:pt>
                <c:pt idx="53">
                  <c:v>3360.150196734623</c:v>
                </c:pt>
                <c:pt idx="54">
                  <c:v>3386.1799699486728</c:v>
                </c:pt>
                <c:pt idx="55">
                  <c:v>3411.5218980181635</c:v>
                </c:pt>
                <c:pt idx="56">
                  <c:v>3436.1935334164427</c:v>
                </c:pt>
                <c:pt idx="57">
                  <c:v>3460.2139093698352</c:v>
                </c:pt>
                <c:pt idx="58">
                  <c:v>3483.598190321185</c:v>
                </c:pt>
                <c:pt idx="59">
                  <c:v>3506.3683679363749</c:v>
                </c:pt>
                <c:pt idx="60">
                  <c:v>3528.5393431286902</c:v>
                </c:pt>
                <c:pt idx="61">
                  <c:v>3550.1324311365352</c:v>
                </c:pt>
                <c:pt idx="62">
                  <c:v>3571.1620064456984</c:v>
                </c:pt>
                <c:pt idx="63">
                  <c:v>3591.6450449882013</c:v>
                </c:pt>
                <c:pt idx="64">
                  <c:v>3611.5982037043104</c:v>
                </c:pt>
                <c:pt idx="65">
                  <c:v>3631.0342209709088</c:v>
                </c:pt>
                <c:pt idx="66">
                  <c:v>3649.96831229133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08-4AD1-9874-A186BE69DB4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367.3382874638046</c:v>
                </c:pt>
                <c:pt idx="27">
                  <c:v>2413.5912704463299</c:v>
                </c:pt>
                <c:pt idx="28">
                  <c:v>2459.7286868562587</c:v>
                </c:pt>
                <c:pt idx="29">
                  <c:v>2505.3932003705577</c:v>
                </c:pt>
                <c:pt idx="30">
                  <c:v>2550.857043500946</c:v>
                </c:pt>
                <c:pt idx="31">
                  <c:v>2596.7342671858878</c:v>
                </c:pt>
                <c:pt idx="32">
                  <c:v>2643.0330463911741</c:v>
                </c:pt>
                <c:pt idx="33">
                  <c:v>2689.6760607710621</c:v>
                </c:pt>
                <c:pt idx="34">
                  <c:v>2736.5269724091304</c:v>
                </c:pt>
                <c:pt idx="35">
                  <c:v>2783.5044092623702</c:v>
                </c:pt>
                <c:pt idx="36">
                  <c:v>2830.4932407485485</c:v>
                </c:pt>
                <c:pt idx="37">
                  <c:v>2877.5404672324166</c:v>
                </c:pt>
                <c:pt idx="38">
                  <c:v>2924.6155448911395</c:v>
                </c:pt>
                <c:pt idx="39">
                  <c:v>2971.6200974688272</c:v>
                </c:pt>
                <c:pt idx="40">
                  <c:v>3018.4340817679295</c:v>
                </c:pt>
                <c:pt idx="41">
                  <c:v>3064.9542776522121</c:v>
                </c:pt>
                <c:pt idx="42">
                  <c:v>3111.1320283936693</c:v>
                </c:pt>
                <c:pt idx="43">
                  <c:v>3156.9807806667268</c:v>
                </c:pt>
                <c:pt idx="44">
                  <c:v>3202.5160395940693</c:v>
                </c:pt>
                <c:pt idx="45">
                  <c:v>3247.7837722572258</c:v>
                </c:pt>
                <c:pt idx="46">
                  <c:v>3292.7407747536836</c:v>
                </c:pt>
                <c:pt idx="47">
                  <c:v>3337.340803969857</c:v>
                </c:pt>
                <c:pt idx="48">
                  <c:v>3381.6066474853251</c:v>
                </c:pt>
                <c:pt idx="49">
                  <c:v>3425.5419244291843</c:v>
                </c:pt>
                <c:pt idx="50">
                  <c:v>3469.125140069671</c:v>
                </c:pt>
                <c:pt idx="51">
                  <c:v>3512.3577684696447</c:v>
                </c:pt>
                <c:pt idx="52">
                  <c:v>3555.2666958414229</c:v>
                </c:pt>
                <c:pt idx="53">
                  <c:v>3597.8583281704887</c:v>
                </c:pt>
                <c:pt idx="54">
                  <c:v>3640.1130465382375</c:v>
                </c:pt>
                <c:pt idx="55">
                  <c:v>3682.0468650891144</c:v>
                </c:pt>
                <c:pt idx="56">
                  <c:v>3723.6549678792453</c:v>
                </c:pt>
                <c:pt idx="57">
                  <c:v>3764.9382200539658</c:v>
                </c:pt>
                <c:pt idx="58">
                  <c:v>3805.9029936700845</c:v>
                </c:pt>
                <c:pt idx="59">
                  <c:v>3846.5440251592463</c:v>
                </c:pt>
                <c:pt idx="60">
                  <c:v>3886.8696568203795</c:v>
                </c:pt>
                <c:pt idx="61">
                  <c:v>3926.8832353134276</c:v>
                </c:pt>
                <c:pt idx="62">
                  <c:v>3966.5871380327226</c:v>
                </c:pt>
                <c:pt idx="63">
                  <c:v>4005.9835236281524</c:v>
                </c:pt>
                <c:pt idx="64">
                  <c:v>4045.0746027657588</c:v>
                </c:pt>
                <c:pt idx="65">
                  <c:v>4083.8661495677134</c:v>
                </c:pt>
                <c:pt idx="66">
                  <c:v>4122.35694495227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08-4AD1-9874-A186BE69DB4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368.1784339532696</c:v>
                </c:pt>
                <c:pt idx="27">
                  <c:v>2416.0411113116097</c:v>
                </c:pt>
                <c:pt idx="28">
                  <c:v>2464.4494793800732</c:v>
                </c:pt>
                <c:pt idx="29">
                  <c:v>2512.9698694344806</c:v>
                </c:pt>
                <c:pt idx="30">
                  <c:v>2562.0821780276001</c:v>
                </c:pt>
                <c:pt idx="31">
                  <c:v>2612.5740070490156</c:v>
                </c:pt>
                <c:pt idx="32">
                  <c:v>2664.6392429900588</c:v>
                </c:pt>
                <c:pt idx="33">
                  <c:v>2718.3382110369384</c:v>
                </c:pt>
                <c:pt idx="34">
                  <c:v>2773.455575843187</c:v>
                </c:pt>
                <c:pt idx="35">
                  <c:v>2829.9045521303797</c:v>
                </c:pt>
                <c:pt idx="36">
                  <c:v>2887.6488988146448</c:v>
                </c:pt>
                <c:pt idx="37">
                  <c:v>2946.8692165670946</c:v>
                </c:pt>
                <c:pt idx="38">
                  <c:v>3007.604176275303</c:v>
                </c:pt>
                <c:pt idx="39">
                  <c:v>3069.7644301025957</c:v>
                </c:pt>
                <c:pt idx="40">
                  <c:v>3133.2145841665806</c:v>
                </c:pt>
                <c:pt idx="41">
                  <c:v>3197.8479726877558</c:v>
                </c:pt>
                <c:pt idx="42">
                  <c:v>3263.6632126686145</c:v>
                </c:pt>
                <c:pt idx="43">
                  <c:v>3330.7284089775749</c:v>
                </c:pt>
                <c:pt idx="44">
                  <c:v>3399.0982479522227</c:v>
                </c:pt>
                <c:pt idx="45">
                  <c:v>3468.820941897784</c:v>
                </c:pt>
                <c:pt idx="46">
                  <c:v>3539.8581347712279</c:v>
                </c:pt>
                <c:pt idx="47">
                  <c:v>3612.1694782831528</c:v>
                </c:pt>
                <c:pt idx="48">
                  <c:v>3685.8107870523781</c:v>
                </c:pt>
                <c:pt idx="49">
                  <c:v>3760.8293768090934</c:v>
                </c:pt>
                <c:pt idx="50">
                  <c:v>3837.2251239650705</c:v>
                </c:pt>
                <c:pt idx="51">
                  <c:v>3915.0130837825704</c:v>
                </c:pt>
                <c:pt idx="52">
                  <c:v>3994.2261444595242</c:v>
                </c:pt>
                <c:pt idx="53">
                  <c:v>4074.8939483928516</c:v>
                </c:pt>
                <c:pt idx="54">
                  <c:v>4157.029318215802</c:v>
                </c:pt>
                <c:pt idx="55">
                  <c:v>4240.6748296268779</c:v>
                </c:pt>
                <c:pt idx="56">
                  <c:v>4325.8498042995907</c:v>
                </c:pt>
                <c:pt idx="57">
                  <c:v>4412.5733050378494</c:v>
                </c:pt>
                <c:pt idx="58">
                  <c:v>4500.8677925064167</c:v>
                </c:pt>
                <c:pt idx="59">
                  <c:v>4590.7637693438082</c:v>
                </c:pt>
                <c:pt idx="60">
                  <c:v>4682.2909072953516</c:v>
                </c:pt>
                <c:pt idx="61">
                  <c:v>4775.4795570511305</c:v>
                </c:pt>
                <c:pt idx="62">
                  <c:v>4870.3599036133437</c:v>
                </c:pt>
                <c:pt idx="63">
                  <c:v>4966.9588480136281</c:v>
                </c:pt>
                <c:pt idx="64">
                  <c:v>5065.306169739808</c:v>
                </c:pt>
                <c:pt idx="65">
                  <c:v>5165.43278283162</c:v>
                </c:pt>
                <c:pt idx="66">
                  <c:v>5267.36990777094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1</c:v>
                </c:pt>
                <c:pt idx="1">
                  <c:v>35</c:v>
                </c:pt>
                <c:pt idx="2">
                  <c:v>47</c:v>
                </c:pt>
                <c:pt idx="3">
                  <c:v>64</c:v>
                </c:pt>
                <c:pt idx="4">
                  <c:v>76</c:v>
                </c:pt>
                <c:pt idx="5">
                  <c:v>91</c:v>
                </c:pt>
                <c:pt idx="6">
                  <c:v>107</c:v>
                </c:pt>
                <c:pt idx="7">
                  <c:v>131</c:v>
                </c:pt>
                <c:pt idx="8">
                  <c:v>139</c:v>
                </c:pt>
                <c:pt idx="9">
                  <c:v>151</c:v>
                </c:pt>
                <c:pt idx="10">
                  <c:v>161</c:v>
                </c:pt>
                <c:pt idx="11">
                  <c:v>176</c:v>
                </c:pt>
                <c:pt idx="12">
                  <c:v>198</c:v>
                </c:pt>
                <c:pt idx="13">
                  <c:v>212</c:v>
                </c:pt>
                <c:pt idx="14">
                  <c:v>224</c:v>
                </c:pt>
                <c:pt idx="15">
                  <c:v>235</c:v>
                </c:pt>
                <c:pt idx="16">
                  <c:v>240</c:v>
                </c:pt>
                <c:pt idx="17">
                  <c:v>250</c:v>
                </c:pt>
                <c:pt idx="18">
                  <c:v>263</c:v>
                </c:pt>
                <c:pt idx="19">
                  <c:v>275</c:v>
                </c:pt>
                <c:pt idx="20">
                  <c:v>283</c:v>
                </c:pt>
                <c:pt idx="21">
                  <c:v>296</c:v>
                </c:pt>
                <c:pt idx="22">
                  <c:v>306</c:v>
                </c:pt>
                <c:pt idx="23">
                  <c:v>309</c:v>
                </c:pt>
                <c:pt idx="24">
                  <c:v>315</c:v>
                </c:pt>
                <c:pt idx="25">
                  <c:v>320</c:v>
                </c:pt>
                <c:pt idx="26">
                  <c:v>328</c:v>
                </c:pt>
                <c:pt idx="27">
                  <c:v>337</c:v>
                </c:pt>
                <c:pt idx="28">
                  <c:v>344</c:v>
                </c:pt>
                <c:pt idx="29">
                  <c:v>349</c:v>
                </c:pt>
                <c:pt idx="30">
                  <c:v>352</c:v>
                </c:pt>
                <c:pt idx="31">
                  <c:v>361</c:v>
                </c:pt>
                <c:pt idx="32">
                  <c:v>365</c:v>
                </c:pt>
                <c:pt idx="33">
                  <c:v>372</c:v>
                </c:pt>
                <c:pt idx="34">
                  <c:v>377</c:v>
                </c:pt>
                <c:pt idx="35">
                  <c:v>381</c:v>
                </c:pt>
                <c:pt idx="36">
                  <c:v>384</c:v>
                </c:pt>
                <c:pt idx="37">
                  <c:v>388</c:v>
                </c:pt>
                <c:pt idx="38">
                  <c:v>391</c:v>
                </c:pt>
                <c:pt idx="39">
                  <c:v>396</c:v>
                </c:pt>
                <c:pt idx="40">
                  <c:v>407</c:v>
                </c:pt>
                <c:pt idx="41">
                  <c:v>412</c:v>
                </c:pt>
                <c:pt idx="42">
                  <c:v>415</c:v>
                </c:pt>
                <c:pt idx="43">
                  <c:v>422</c:v>
                </c:pt>
                <c:pt idx="44">
                  <c:v>425</c:v>
                </c:pt>
                <c:pt idx="45">
                  <c:v>428</c:v>
                </c:pt>
                <c:pt idx="46">
                  <c:v>430</c:v>
                </c:pt>
                <c:pt idx="47">
                  <c:v>434</c:v>
                </c:pt>
                <c:pt idx="48">
                  <c:v>435</c:v>
                </c:pt>
                <c:pt idx="49">
                  <c:v>437</c:v>
                </c:pt>
                <c:pt idx="50">
                  <c:v>439</c:v>
                </c:pt>
                <c:pt idx="51">
                  <c:v>440</c:v>
                </c:pt>
                <c:pt idx="52">
                  <c:v>441</c:v>
                </c:pt>
                <c:pt idx="53">
                  <c:v>443</c:v>
                </c:pt>
                <c:pt idx="54">
                  <c:v>444</c:v>
                </c:pt>
                <c:pt idx="55">
                  <c:v>446</c:v>
                </c:pt>
                <c:pt idx="56">
                  <c:v>447</c:v>
                </c:pt>
                <c:pt idx="57">
                  <c:v>448</c:v>
                </c:pt>
                <c:pt idx="58">
                  <c:v>448</c:v>
                </c:pt>
                <c:pt idx="59">
                  <c:v>450</c:v>
                </c:pt>
                <c:pt idx="60">
                  <c:v>450</c:v>
                </c:pt>
                <c:pt idx="61">
                  <c:v>45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26.35365874403385</c:v>
                </c:pt>
                <c:pt idx="27">
                  <c:v>332.5623162852346</c:v>
                </c:pt>
                <c:pt idx="28">
                  <c:v>338.63179721054485</c:v>
                </c:pt>
                <c:pt idx="29">
                  <c:v>344.52033255788524</c:v>
                </c:pt>
                <c:pt idx="30">
                  <c:v>350.24600041859338</c:v>
                </c:pt>
                <c:pt idx="31">
                  <c:v>355.87688141559005</c:v>
                </c:pt>
                <c:pt idx="32">
                  <c:v>361.39180341622904</c:v>
                </c:pt>
                <c:pt idx="33">
                  <c:v>366.76266753644995</c:v>
                </c:pt>
                <c:pt idx="34">
                  <c:v>371.98950000161983</c:v>
                </c:pt>
                <c:pt idx="35">
                  <c:v>377.06719866749216</c:v>
                </c:pt>
                <c:pt idx="36">
                  <c:v>381.97702015213281</c:v>
                </c:pt>
                <c:pt idx="37">
                  <c:v>386.72166813449701</c:v>
                </c:pt>
                <c:pt idx="38">
                  <c:v>391.29674228025453</c:v>
                </c:pt>
                <c:pt idx="39">
                  <c:v>395.69709350274377</c:v>
                </c:pt>
                <c:pt idx="40">
                  <c:v>399.9151154211296</c:v>
                </c:pt>
                <c:pt idx="41">
                  <c:v>403.94900888574233</c:v>
                </c:pt>
                <c:pt idx="42">
                  <c:v>407.7979715305716</c:v>
                </c:pt>
                <c:pt idx="43">
                  <c:v>411.46868997759435</c:v>
                </c:pt>
                <c:pt idx="44">
                  <c:v>414.97041056279113</c:v>
                </c:pt>
                <c:pt idx="45">
                  <c:v>418.31710941163914</c:v>
                </c:pt>
                <c:pt idx="46">
                  <c:v>421.51111482571872</c:v>
                </c:pt>
                <c:pt idx="47">
                  <c:v>424.55476514272448</c:v>
                </c:pt>
                <c:pt idx="48">
                  <c:v>427.45814013179387</c:v>
                </c:pt>
                <c:pt idx="49">
                  <c:v>430.22690900591141</c:v>
                </c:pt>
                <c:pt idx="50">
                  <c:v>432.86376659656185</c:v>
                </c:pt>
                <c:pt idx="51">
                  <c:v>435.37593751576679</c:v>
                </c:pt>
                <c:pt idx="52">
                  <c:v>437.7723293088136</c:v>
                </c:pt>
                <c:pt idx="53">
                  <c:v>440.05939096793361</c:v>
                </c:pt>
                <c:pt idx="54">
                  <c:v>442.24033382445424</c:v>
                </c:pt>
                <c:pt idx="55">
                  <c:v>444.32097133340756</c:v>
                </c:pt>
                <c:pt idx="56">
                  <c:v>446.30607435990123</c:v>
                </c:pt>
                <c:pt idx="57">
                  <c:v>448.20016229524242</c:v>
                </c:pt>
                <c:pt idx="58">
                  <c:v>450.0075476365929</c:v>
                </c:pt>
                <c:pt idx="59">
                  <c:v>451.7329173366187</c:v>
                </c:pt>
                <c:pt idx="60">
                  <c:v>453.38035564699402</c:v>
                </c:pt>
                <c:pt idx="61">
                  <c:v>454.95361387217724</c:v>
                </c:pt>
                <c:pt idx="62">
                  <c:v>456.45691821486753</c:v>
                </c:pt>
                <c:pt idx="63">
                  <c:v>457.89331620948735</c:v>
                </c:pt>
                <c:pt idx="64">
                  <c:v>459.26660009638476</c:v>
                </c:pt>
                <c:pt idx="65">
                  <c:v>460.57950185937153</c:v>
                </c:pt>
                <c:pt idx="66">
                  <c:v>461.835592212921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69-433F-AC8B-396B88F7C2E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26.43252077940923</c:v>
                </c:pt>
                <c:pt idx="27">
                  <c:v>332.79104799830782</c:v>
                </c:pt>
                <c:pt idx="28">
                  <c:v>339.07219026881131</c:v>
                </c:pt>
                <c:pt idx="29">
                  <c:v>345.22710644603393</c:v>
                </c:pt>
                <c:pt idx="30">
                  <c:v>351.28419467854997</c:v>
                </c:pt>
                <c:pt idx="31">
                  <c:v>357.32016413597523</c:v>
                </c:pt>
                <c:pt idx="32">
                  <c:v>363.32431179638081</c:v>
                </c:pt>
                <c:pt idx="33">
                  <c:v>369.27528212707921</c:v>
                </c:pt>
                <c:pt idx="34">
                  <c:v>375.16463423250173</c:v>
                </c:pt>
                <c:pt idx="35">
                  <c:v>380.98236358068783</c:v>
                </c:pt>
                <c:pt idx="36">
                  <c:v>386.70743390211862</c:v>
                </c:pt>
                <c:pt idx="37">
                  <c:v>392.34264693701897</c:v>
                </c:pt>
                <c:pt idx="38">
                  <c:v>397.88184276194897</c:v>
                </c:pt>
                <c:pt idx="39">
                  <c:v>403.31502399216339</c:v>
                </c:pt>
                <c:pt idx="40">
                  <c:v>408.62762611346761</c:v>
                </c:pt>
                <c:pt idx="41">
                  <c:v>413.81073778613973</c:v>
                </c:pt>
                <c:pt idx="42">
                  <c:v>418.85980780167642</c:v>
                </c:pt>
                <c:pt idx="43">
                  <c:v>423.77705927169393</c:v>
                </c:pt>
                <c:pt idx="44">
                  <c:v>428.56718831915225</c:v>
                </c:pt>
                <c:pt idx="45">
                  <c:v>433.23960747138898</c:v>
                </c:pt>
                <c:pt idx="46">
                  <c:v>437.79304764661879</c:v>
                </c:pt>
                <c:pt idx="47">
                  <c:v>442.2251342750061</c:v>
                </c:pt>
                <c:pt idx="48">
                  <c:v>446.54076247830426</c:v>
                </c:pt>
                <c:pt idx="49">
                  <c:v>450.74337095368577</c:v>
                </c:pt>
                <c:pt idx="50">
                  <c:v>454.83142440132184</c:v>
                </c:pt>
                <c:pt idx="51">
                  <c:v>458.80924409043666</c:v>
                </c:pt>
                <c:pt idx="52">
                  <c:v>462.68273785986878</c:v>
                </c:pt>
                <c:pt idx="53">
                  <c:v>466.45543483198117</c:v>
                </c:pt>
                <c:pt idx="54">
                  <c:v>470.12767929377708</c:v>
                </c:pt>
                <c:pt idx="55">
                  <c:v>473.70303839154406</c:v>
                </c:pt>
                <c:pt idx="56">
                  <c:v>477.18385712722488</c:v>
                </c:pt>
                <c:pt idx="57">
                  <c:v>480.57278642177596</c:v>
                </c:pt>
                <c:pt idx="58">
                  <c:v>483.87196948356552</c:v>
                </c:pt>
                <c:pt idx="59">
                  <c:v>487.08450791351379</c:v>
                </c:pt>
                <c:pt idx="60">
                  <c:v>490.21250224026903</c:v>
                </c:pt>
                <c:pt idx="61">
                  <c:v>493.25895828369767</c:v>
                </c:pt>
                <c:pt idx="62">
                  <c:v>496.22590356904647</c:v>
                </c:pt>
                <c:pt idx="63">
                  <c:v>499.11573740742807</c:v>
                </c:pt>
                <c:pt idx="64">
                  <c:v>501.93080399971052</c:v>
                </c:pt>
                <c:pt idx="65">
                  <c:v>504.67290648595781</c:v>
                </c:pt>
                <c:pt idx="66">
                  <c:v>507.344192191939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69-433F-AC8B-396B88F7C2E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26.51078537512257</c:v>
                </c:pt>
                <c:pt idx="27">
                  <c:v>333.01897021121357</c:v>
                </c:pt>
                <c:pt idx="28">
                  <c:v>339.51159789384729</c:v>
                </c:pt>
                <c:pt idx="29">
                  <c:v>345.93272497223364</c:v>
                </c:pt>
                <c:pt idx="30">
                  <c:v>352.32465004311803</c:v>
                </c:pt>
                <c:pt idx="31">
                  <c:v>358.77638258423201</c:v>
                </c:pt>
                <c:pt idx="32">
                  <c:v>365.29135534228709</c:v>
                </c:pt>
                <c:pt idx="33">
                  <c:v>371.8573545789767</c:v>
                </c:pt>
                <c:pt idx="34">
                  <c:v>378.45789987270575</c:v>
                </c:pt>
                <c:pt idx="35">
                  <c:v>385.07896530066148</c:v>
                </c:pt>
                <c:pt idx="36">
                  <c:v>391.70224788802199</c:v>
                </c:pt>
                <c:pt idx="37">
                  <c:v>398.33572955288048</c:v>
                </c:pt>
                <c:pt idx="38">
                  <c:v>404.97342545411527</c:v>
                </c:pt>
                <c:pt idx="39">
                  <c:v>411.60222897249616</c:v>
                </c:pt>
                <c:pt idx="40">
                  <c:v>418.20427700907311</c:v>
                </c:pt>
                <c:pt idx="41">
                  <c:v>424.76519833671091</c:v>
                </c:pt>
                <c:pt idx="42">
                  <c:v>431.27737921455122</c:v>
                </c:pt>
                <c:pt idx="43">
                  <c:v>437.74225710642423</c:v>
                </c:pt>
                <c:pt idx="44">
                  <c:v>444.1636295003575</c:v>
                </c:pt>
                <c:pt idx="45">
                  <c:v>450.54726626152524</c:v>
                </c:pt>
                <c:pt idx="46">
                  <c:v>456.88678732403326</c:v>
                </c:pt>
                <c:pt idx="47">
                  <c:v>463.17650096681035</c:v>
                </c:pt>
                <c:pt idx="48">
                  <c:v>469.41966759404261</c:v>
                </c:pt>
                <c:pt idx="49">
                  <c:v>475.61609134462418</c:v>
                </c:pt>
                <c:pt idx="50">
                  <c:v>481.76267721657018</c:v>
                </c:pt>
                <c:pt idx="51">
                  <c:v>487.86009519419133</c:v>
                </c:pt>
                <c:pt idx="52">
                  <c:v>493.91189397170757</c:v>
                </c:pt>
                <c:pt idx="53">
                  <c:v>499.9184162273346</c:v>
                </c:pt>
                <c:pt idx="54">
                  <c:v>505.87733953213547</c:v>
                </c:pt>
                <c:pt idx="55">
                  <c:v>511.79114770581646</c:v>
                </c:pt>
                <c:pt idx="56">
                  <c:v>517.65905392900083</c:v>
                </c:pt>
                <c:pt idx="57">
                  <c:v>523.48115762252655</c:v>
                </c:pt>
                <c:pt idx="58">
                  <c:v>529.25834491036187</c:v>
                </c:pt>
                <c:pt idx="59">
                  <c:v>534.98987673794534</c:v>
                </c:pt>
                <c:pt idx="60">
                  <c:v>540.67692473576403</c:v>
                </c:pt>
                <c:pt idx="61">
                  <c:v>546.31995526481239</c:v>
                </c:pt>
                <c:pt idx="62">
                  <c:v>551.91931418817239</c:v>
                </c:pt>
                <c:pt idx="63">
                  <c:v>557.47530799598053</c:v>
                </c:pt>
                <c:pt idx="64">
                  <c:v>562.98824824904068</c:v>
                </c:pt>
                <c:pt idx="65">
                  <c:v>568.45893996489872</c:v>
                </c:pt>
                <c:pt idx="66">
                  <c:v>573.887214369145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69-433F-AC8B-396B88F7C2E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26.62848098852425</c:v>
                </c:pt>
                <c:pt idx="27">
                  <c:v>333.36185572031843</c:v>
                </c:pt>
                <c:pt idx="28">
                  <c:v>340.17231026801494</c:v>
                </c:pt>
                <c:pt idx="29">
                  <c:v>346.99312062582152</c:v>
                </c:pt>
                <c:pt idx="30">
                  <c:v>353.89570837065008</c:v>
                </c:pt>
                <c:pt idx="31">
                  <c:v>360.99369666607925</c:v>
                </c:pt>
                <c:pt idx="32">
                  <c:v>368.31706289440052</c:v>
                </c:pt>
                <c:pt idx="33">
                  <c:v>375.87300138205632</c:v>
                </c:pt>
                <c:pt idx="34">
                  <c:v>383.63402951109799</c:v>
                </c:pt>
                <c:pt idx="35">
                  <c:v>391.58567180025233</c:v>
                </c:pt>
                <c:pt idx="36">
                  <c:v>399.72064431284429</c:v>
                </c:pt>
                <c:pt idx="37">
                  <c:v>408.06549888952634</c:v>
                </c:pt>
                <c:pt idx="38">
                  <c:v>416.62414342976808</c:v>
                </c:pt>
                <c:pt idx="39">
                  <c:v>425.38474536023853</c:v>
                </c:pt>
                <c:pt idx="40">
                  <c:v>434.32745826260941</c:v>
                </c:pt>
                <c:pt idx="41">
                  <c:v>443.43726725124986</c:v>
                </c:pt>
                <c:pt idx="42">
                  <c:v>452.71317086249667</c:v>
                </c:pt>
                <c:pt idx="43">
                  <c:v>462.164271334555</c:v>
                </c:pt>
                <c:pt idx="44">
                  <c:v>471.79990256540839</c:v>
                </c:pt>
                <c:pt idx="45">
                  <c:v>481.62627427503696</c:v>
                </c:pt>
                <c:pt idx="46">
                  <c:v>491.63766898574733</c:v>
                </c:pt>
                <c:pt idx="47">
                  <c:v>501.82925011874704</c:v>
                </c:pt>
                <c:pt idx="48">
                  <c:v>512.20888937114046</c:v>
                </c:pt>
                <c:pt idx="49">
                  <c:v>522.78252611841674</c:v>
                </c:pt>
                <c:pt idx="50">
                  <c:v>533.55006008992632</c:v>
                </c:pt>
                <c:pt idx="51">
                  <c:v>544.51410149965091</c:v>
                </c:pt>
                <c:pt idx="52">
                  <c:v>555.6790847926203</c:v>
                </c:pt>
                <c:pt idx="53">
                  <c:v>567.04860572265829</c:v>
                </c:pt>
                <c:pt idx="54">
                  <c:v>578.6248533431318</c:v>
                </c:pt>
                <c:pt idx="55">
                  <c:v>590.41406477982366</c:v>
                </c:pt>
                <c:pt idx="56">
                  <c:v>602.41889366409691</c:v>
                </c:pt>
                <c:pt idx="57">
                  <c:v>614.64200845540608</c:v>
                </c:pt>
                <c:pt idx="58">
                  <c:v>627.08656231757436</c:v>
                </c:pt>
                <c:pt idx="59">
                  <c:v>639.75683652072246</c:v>
                </c:pt>
                <c:pt idx="60">
                  <c:v>652.65700121742839</c:v>
                </c:pt>
                <c:pt idx="61">
                  <c:v>665.79133196149928</c:v>
                </c:pt>
                <c:pt idx="62">
                  <c:v>679.16410140888797</c:v>
                </c:pt>
                <c:pt idx="63">
                  <c:v>692.77911439391301</c:v>
                </c:pt>
                <c:pt idx="64">
                  <c:v>706.64056064391718</c:v>
                </c:pt>
                <c:pt idx="65">
                  <c:v>720.75278580358406</c:v>
                </c:pt>
                <c:pt idx="66">
                  <c:v>735.120185383004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4</c:v>
                </c:pt>
                <c:pt idx="1">
                  <c:v>25</c:v>
                </c:pt>
                <c:pt idx="2">
                  <c:v>33</c:v>
                </c:pt>
                <c:pt idx="3">
                  <c:v>47</c:v>
                </c:pt>
                <c:pt idx="4">
                  <c:v>54</c:v>
                </c:pt>
                <c:pt idx="5">
                  <c:v>67</c:v>
                </c:pt>
                <c:pt idx="6">
                  <c:v>76</c:v>
                </c:pt>
                <c:pt idx="7">
                  <c:v>88</c:v>
                </c:pt>
                <c:pt idx="8">
                  <c:v>97</c:v>
                </c:pt>
                <c:pt idx="9">
                  <c:v>108</c:v>
                </c:pt>
                <c:pt idx="10">
                  <c:v>117</c:v>
                </c:pt>
                <c:pt idx="11">
                  <c:v>121</c:v>
                </c:pt>
                <c:pt idx="12">
                  <c:v>131</c:v>
                </c:pt>
                <c:pt idx="13">
                  <c:v>138</c:v>
                </c:pt>
                <c:pt idx="14">
                  <c:v>147</c:v>
                </c:pt>
                <c:pt idx="15">
                  <c:v>156</c:v>
                </c:pt>
                <c:pt idx="16">
                  <c:v>158</c:v>
                </c:pt>
                <c:pt idx="17">
                  <c:v>162</c:v>
                </c:pt>
                <c:pt idx="18">
                  <c:v>169</c:v>
                </c:pt>
                <c:pt idx="19">
                  <c:v>173</c:v>
                </c:pt>
                <c:pt idx="20">
                  <c:v>180</c:v>
                </c:pt>
                <c:pt idx="21">
                  <c:v>187</c:v>
                </c:pt>
                <c:pt idx="22">
                  <c:v>191</c:v>
                </c:pt>
                <c:pt idx="23">
                  <c:v>192</c:v>
                </c:pt>
                <c:pt idx="24">
                  <c:v>195</c:v>
                </c:pt>
                <c:pt idx="25">
                  <c:v>200</c:v>
                </c:pt>
                <c:pt idx="26">
                  <c:v>203</c:v>
                </c:pt>
                <c:pt idx="27">
                  <c:v>206</c:v>
                </c:pt>
                <c:pt idx="28">
                  <c:v>210</c:v>
                </c:pt>
                <c:pt idx="29">
                  <c:v>214</c:v>
                </c:pt>
                <c:pt idx="30">
                  <c:v>219</c:v>
                </c:pt>
                <c:pt idx="31">
                  <c:v>223</c:v>
                </c:pt>
                <c:pt idx="32">
                  <c:v>226</c:v>
                </c:pt>
                <c:pt idx="33">
                  <c:v>228</c:v>
                </c:pt>
                <c:pt idx="34">
                  <c:v>231</c:v>
                </c:pt>
                <c:pt idx="35">
                  <c:v>233</c:v>
                </c:pt>
                <c:pt idx="36">
                  <c:v>237</c:v>
                </c:pt>
                <c:pt idx="37">
                  <c:v>238</c:v>
                </c:pt>
                <c:pt idx="38">
                  <c:v>240</c:v>
                </c:pt>
                <c:pt idx="39">
                  <c:v>241</c:v>
                </c:pt>
                <c:pt idx="40">
                  <c:v>242</c:v>
                </c:pt>
                <c:pt idx="41">
                  <c:v>245</c:v>
                </c:pt>
                <c:pt idx="42">
                  <c:v>245</c:v>
                </c:pt>
                <c:pt idx="43">
                  <c:v>246</c:v>
                </c:pt>
                <c:pt idx="44">
                  <c:v>248</c:v>
                </c:pt>
                <c:pt idx="45">
                  <c:v>249</c:v>
                </c:pt>
                <c:pt idx="46">
                  <c:v>252</c:v>
                </c:pt>
                <c:pt idx="47">
                  <c:v>253</c:v>
                </c:pt>
                <c:pt idx="48">
                  <c:v>256</c:v>
                </c:pt>
                <c:pt idx="49">
                  <c:v>256</c:v>
                </c:pt>
                <c:pt idx="50">
                  <c:v>258</c:v>
                </c:pt>
                <c:pt idx="51">
                  <c:v>260</c:v>
                </c:pt>
                <c:pt idx="52">
                  <c:v>262</c:v>
                </c:pt>
                <c:pt idx="53">
                  <c:v>263</c:v>
                </c:pt>
                <c:pt idx="54">
                  <c:v>263</c:v>
                </c:pt>
                <c:pt idx="55">
                  <c:v>265</c:v>
                </c:pt>
                <c:pt idx="56">
                  <c:v>265</c:v>
                </c:pt>
                <c:pt idx="57">
                  <c:v>265</c:v>
                </c:pt>
                <c:pt idx="58">
                  <c:v>265</c:v>
                </c:pt>
                <c:pt idx="59">
                  <c:v>265</c:v>
                </c:pt>
                <c:pt idx="60">
                  <c:v>265</c:v>
                </c:pt>
                <c:pt idx="61">
                  <c:v>265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04.41739383266511</c:v>
                </c:pt>
                <c:pt idx="27">
                  <c:v>207.76284682442389</c:v>
                </c:pt>
                <c:pt idx="28">
                  <c:v>211.03406411880778</c:v>
                </c:pt>
                <c:pt idx="29">
                  <c:v>214.20523878414593</c:v>
                </c:pt>
                <c:pt idx="30">
                  <c:v>217.28850231597323</c:v>
                </c:pt>
                <c:pt idx="31">
                  <c:v>220.3218604095502</c:v>
                </c:pt>
                <c:pt idx="32">
                  <c:v>223.29490590724791</c:v>
                </c:pt>
                <c:pt idx="33">
                  <c:v>226.1916511906457</c:v>
                </c:pt>
                <c:pt idx="34">
                  <c:v>229.01360601225545</c:v>
                </c:pt>
                <c:pt idx="35">
                  <c:v>231.75626990116146</c:v>
                </c:pt>
                <c:pt idx="36">
                  <c:v>234.40838252560673</c:v>
                </c:pt>
                <c:pt idx="37">
                  <c:v>236.97239916695418</c:v>
                </c:pt>
                <c:pt idx="38">
                  <c:v>239.44485855427899</c:v>
                </c:pt>
                <c:pt idx="39">
                  <c:v>241.82346953943195</c:v>
                </c:pt>
                <c:pt idx="40">
                  <c:v>244.10344943776025</c:v>
                </c:pt>
                <c:pt idx="41">
                  <c:v>246.28405488548285</c:v>
                </c:pt>
                <c:pt idx="42">
                  <c:v>248.36444702327464</c:v>
                </c:pt>
                <c:pt idx="43">
                  <c:v>250.34798907027454</c:v>
                </c:pt>
                <c:pt idx="44">
                  <c:v>252.24062922580751</c:v>
                </c:pt>
                <c:pt idx="45">
                  <c:v>254.04941661915598</c:v>
                </c:pt>
                <c:pt idx="46">
                  <c:v>255.77546062029228</c:v>
                </c:pt>
                <c:pt idx="47">
                  <c:v>257.42049985046782</c:v>
                </c:pt>
                <c:pt idx="48">
                  <c:v>258.99002725540834</c:v>
                </c:pt>
                <c:pt idx="49">
                  <c:v>260.48670443453545</c:v>
                </c:pt>
                <c:pt idx="50">
                  <c:v>261.91197673194267</c:v>
                </c:pt>
                <c:pt idx="51">
                  <c:v>263.27001603134386</c:v>
                </c:pt>
                <c:pt idx="52">
                  <c:v>264.56546845952619</c:v>
                </c:pt>
                <c:pt idx="53">
                  <c:v>265.80149651555138</c:v>
                </c:pt>
                <c:pt idx="54">
                  <c:v>266.98013236857929</c:v>
                </c:pt>
                <c:pt idx="55">
                  <c:v>268.10465193007519</c:v>
                </c:pt>
                <c:pt idx="56">
                  <c:v>269.17754631000957</c:v>
                </c:pt>
                <c:pt idx="57">
                  <c:v>270.20124141243485</c:v>
                </c:pt>
                <c:pt idx="58">
                  <c:v>271.17807097682646</c:v>
                </c:pt>
                <c:pt idx="59">
                  <c:v>272.11056970685979</c:v>
                </c:pt>
                <c:pt idx="60">
                  <c:v>273.00094494881887</c:v>
                </c:pt>
                <c:pt idx="61">
                  <c:v>273.85122492867964</c:v>
                </c:pt>
                <c:pt idx="62">
                  <c:v>274.66369313749772</c:v>
                </c:pt>
                <c:pt idx="63">
                  <c:v>275.43999574890472</c:v>
                </c:pt>
                <c:pt idx="64">
                  <c:v>276.18218160092692</c:v>
                </c:pt>
                <c:pt idx="65">
                  <c:v>276.89173000703181</c:v>
                </c:pt>
                <c:pt idx="66">
                  <c:v>277.57056966837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91F-4172-8072-484BB1CAB290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04.45966886867339</c:v>
                </c:pt>
                <c:pt idx="27">
                  <c:v>207.88533786112049</c:v>
                </c:pt>
                <c:pt idx="28">
                  <c:v>211.26989772283645</c:v>
                </c:pt>
                <c:pt idx="29">
                  <c:v>214.58371312273243</c:v>
                </c:pt>
                <c:pt idx="30">
                  <c:v>217.84446160175474</c:v>
                </c:pt>
                <c:pt idx="31">
                  <c:v>221.09490797516196</c:v>
                </c:pt>
                <c:pt idx="32">
                  <c:v>224.3304641801505</c:v>
                </c:pt>
                <c:pt idx="33">
                  <c:v>227.53881077387447</c:v>
                </c:pt>
                <c:pt idx="34">
                  <c:v>230.71694713031815</c:v>
                </c:pt>
                <c:pt idx="35">
                  <c:v>233.8578448386956</c:v>
                </c:pt>
                <c:pt idx="36">
                  <c:v>236.94896772038919</c:v>
                </c:pt>
                <c:pt idx="37">
                  <c:v>239.99272712491816</c:v>
                </c:pt>
                <c:pt idx="38">
                  <c:v>242.98475363701587</c:v>
                </c:pt>
                <c:pt idx="39">
                  <c:v>245.92011093497609</c:v>
                </c:pt>
                <c:pt idx="40">
                  <c:v>248.79032447706527</c:v>
                </c:pt>
                <c:pt idx="41">
                  <c:v>251.59074981322101</c:v>
                </c:pt>
                <c:pt idx="42">
                  <c:v>254.31849706332281</c:v>
                </c:pt>
                <c:pt idx="43">
                  <c:v>256.97450998548686</c:v>
                </c:pt>
                <c:pt idx="44">
                  <c:v>259.56228066272843</c:v>
                </c:pt>
                <c:pt idx="45">
                  <c:v>262.08642752024844</c:v>
                </c:pt>
                <c:pt idx="46">
                  <c:v>264.54609672427961</c:v>
                </c:pt>
                <c:pt idx="47">
                  <c:v>266.94049072298657</c:v>
                </c:pt>
                <c:pt idx="48">
                  <c:v>269.27229971581141</c:v>
                </c:pt>
                <c:pt idx="49">
                  <c:v>271.54296416297672</c:v>
                </c:pt>
                <c:pt idx="50">
                  <c:v>273.75162800416643</c:v>
                </c:pt>
                <c:pt idx="51">
                  <c:v>275.9008990754819</c:v>
                </c:pt>
                <c:pt idx="52">
                  <c:v>277.99381226592908</c:v>
                </c:pt>
                <c:pt idx="53">
                  <c:v>280.03194609100831</c:v>
                </c:pt>
                <c:pt idx="54">
                  <c:v>282.01576585482815</c:v>
                </c:pt>
                <c:pt idx="55">
                  <c:v>283.94733738210965</c:v>
                </c:pt>
                <c:pt idx="56">
                  <c:v>285.82785021235395</c:v>
                </c:pt>
                <c:pt idx="57">
                  <c:v>287.65871625829766</c:v>
                </c:pt>
                <c:pt idx="58">
                  <c:v>289.44109557828159</c:v>
                </c:pt>
                <c:pt idx="59">
                  <c:v>291.17666315808236</c:v>
                </c:pt>
                <c:pt idx="60">
                  <c:v>292.86655276118989</c:v>
                </c:pt>
                <c:pt idx="61">
                  <c:v>294.51238742357123</c:v>
                </c:pt>
                <c:pt idx="62">
                  <c:v>296.11526221504232</c:v>
                </c:pt>
                <c:pt idx="63">
                  <c:v>297.67647586384271</c:v>
                </c:pt>
                <c:pt idx="64">
                  <c:v>299.19729137677945</c:v>
                </c:pt>
                <c:pt idx="65">
                  <c:v>300.67868639422329</c:v>
                </c:pt>
                <c:pt idx="66">
                  <c:v>302.12182138212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91F-4172-8072-484BB1CAB290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04.50162363925736</c:v>
                </c:pt>
                <c:pt idx="27">
                  <c:v>208.00739589107346</c:v>
                </c:pt>
                <c:pt idx="28">
                  <c:v>211.5052034804236</c:v>
                </c:pt>
                <c:pt idx="29">
                  <c:v>214.96156879855579</c:v>
                </c:pt>
                <c:pt idx="30">
                  <c:v>218.40163369727964</c:v>
                </c:pt>
                <c:pt idx="31">
                  <c:v>221.8748838950809</c:v>
                </c:pt>
                <c:pt idx="32">
                  <c:v>225.38451564146146</c:v>
                </c:pt>
                <c:pt idx="33">
                  <c:v>228.92316234120196</c:v>
                </c:pt>
                <c:pt idx="34">
                  <c:v>232.48354207751257</c:v>
                </c:pt>
                <c:pt idx="35">
                  <c:v>236.0565789992479</c:v>
                </c:pt>
                <c:pt idx="36">
                  <c:v>239.63117253376913</c:v>
                </c:pt>
                <c:pt idx="37">
                  <c:v>243.21243005301599</c:v>
                </c:pt>
                <c:pt idx="38">
                  <c:v>246.79613197323826</c:v>
                </c:pt>
                <c:pt idx="39">
                  <c:v>250.37565238087632</c:v>
                </c:pt>
                <c:pt idx="40">
                  <c:v>253.940795249828</c:v>
                </c:pt>
                <c:pt idx="41">
                  <c:v>257.48390934746732</c:v>
                </c:pt>
                <c:pt idx="42">
                  <c:v>261.00044048623704</c:v>
                </c:pt>
                <c:pt idx="43">
                  <c:v>264.49089467977234</c:v>
                </c:pt>
                <c:pt idx="44">
                  <c:v>267.95827117679806</c:v>
                </c:pt>
                <c:pt idx="45">
                  <c:v>271.40526601874535</c:v>
                </c:pt>
                <c:pt idx="46">
                  <c:v>274.82826484628754</c:v>
                </c:pt>
                <c:pt idx="47">
                  <c:v>278.22468275701789</c:v>
                </c:pt>
                <c:pt idx="48">
                  <c:v>281.59630790801617</c:v>
                </c:pt>
                <c:pt idx="49">
                  <c:v>284.94261863665707</c:v>
                </c:pt>
                <c:pt idx="50">
                  <c:v>288.26190613752186</c:v>
                </c:pt>
                <c:pt idx="51">
                  <c:v>291.55480432541094</c:v>
                </c:pt>
                <c:pt idx="52">
                  <c:v>294.82308642174002</c:v>
                </c:pt>
                <c:pt idx="53">
                  <c:v>298.06660726910303</c:v>
                </c:pt>
                <c:pt idx="54">
                  <c:v>301.28437442295143</c:v>
                </c:pt>
                <c:pt idx="55">
                  <c:v>304.47786188545257</c:v>
                </c:pt>
                <c:pt idx="56">
                  <c:v>307.64658138332095</c:v>
                </c:pt>
                <c:pt idx="57">
                  <c:v>310.79057330273275</c:v>
                </c:pt>
                <c:pt idx="58">
                  <c:v>313.91030878891354</c:v>
                </c:pt>
                <c:pt idx="59">
                  <c:v>317.00539066332794</c:v>
                </c:pt>
                <c:pt idx="60">
                  <c:v>320.07644875042149</c:v>
                </c:pt>
                <c:pt idx="61">
                  <c:v>323.12373158457063</c:v>
                </c:pt>
                <c:pt idx="62">
                  <c:v>326.14743216740152</c:v>
                </c:pt>
                <c:pt idx="63">
                  <c:v>329.14771721935648</c:v>
                </c:pt>
                <c:pt idx="64">
                  <c:v>332.12475486524977</c:v>
                </c:pt>
                <c:pt idx="65">
                  <c:v>335.07897434777243</c:v>
                </c:pt>
                <c:pt idx="66">
                  <c:v>338.01028638237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91F-4172-8072-484BB1CAB290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04.56471592784578</c:v>
                </c:pt>
                <c:pt idx="27">
                  <c:v>208.19101970479929</c:v>
                </c:pt>
                <c:pt idx="28">
                  <c:v>211.85901917948098</c:v>
                </c:pt>
                <c:pt idx="29">
                  <c:v>215.5294059934856</c:v>
                </c:pt>
                <c:pt idx="30">
                  <c:v>219.24295240118002</c:v>
                </c:pt>
                <c:pt idx="31">
                  <c:v>223.06251707294149</c:v>
                </c:pt>
                <c:pt idx="32">
                  <c:v>227.00583911723709</c:v>
                </c:pt>
                <c:pt idx="33">
                  <c:v>231.07603021896202</c:v>
                </c:pt>
                <c:pt idx="34">
                  <c:v>235.259948828733</c:v>
                </c:pt>
                <c:pt idx="35">
                  <c:v>239.54846115262535</c:v>
                </c:pt>
                <c:pt idx="36">
                  <c:v>243.93635422639196</c:v>
                </c:pt>
                <c:pt idx="37">
                  <c:v>248.43860348542518</c:v>
                </c:pt>
                <c:pt idx="38">
                  <c:v>253.05640896499597</c:v>
                </c:pt>
                <c:pt idx="39">
                  <c:v>257.78383321023119</c:v>
                </c:pt>
                <c:pt idx="40">
                  <c:v>262.60971609904169</c:v>
                </c:pt>
                <c:pt idx="41">
                  <c:v>267.52596593715271</c:v>
                </c:pt>
                <c:pt idx="42">
                  <c:v>272.53156704667663</c:v>
                </c:pt>
                <c:pt idx="43">
                  <c:v>277.63113883384312</c:v>
                </c:pt>
                <c:pt idx="44">
                  <c:v>282.83067659396363</c:v>
                </c:pt>
                <c:pt idx="45">
                  <c:v>288.13318645187303</c:v>
                </c:pt>
                <c:pt idx="46">
                  <c:v>293.5353994289564</c:v>
                </c:pt>
                <c:pt idx="47">
                  <c:v>299.03520642631895</c:v>
                </c:pt>
                <c:pt idx="48">
                  <c:v>304.6368583894664</c:v>
                </c:pt>
                <c:pt idx="49">
                  <c:v>310.34313071494648</c:v>
                </c:pt>
                <c:pt idx="50">
                  <c:v>316.15392047291721</c:v>
                </c:pt>
                <c:pt idx="51">
                  <c:v>322.07092398208943</c:v>
                </c:pt>
                <c:pt idx="52">
                  <c:v>328.09641592127457</c:v>
                </c:pt>
                <c:pt idx="53">
                  <c:v>334.23199374277908</c:v>
                </c:pt>
                <c:pt idx="54">
                  <c:v>340.47906373945034</c:v>
                </c:pt>
                <c:pt idx="55">
                  <c:v>346.84113107906671</c:v>
                </c:pt>
                <c:pt idx="56">
                  <c:v>353.31958677932192</c:v>
                </c:pt>
                <c:pt idx="57">
                  <c:v>359.91586009547007</c:v>
                </c:pt>
                <c:pt idx="58">
                  <c:v>366.63164527250865</c:v>
                </c:pt>
                <c:pt idx="59">
                  <c:v>373.46924218750144</c:v>
                </c:pt>
                <c:pt idx="60">
                  <c:v>380.43089428261396</c:v>
                </c:pt>
                <c:pt idx="61">
                  <c:v>387.51890760078959</c:v>
                </c:pt>
                <c:pt idx="62">
                  <c:v>394.73559867357733</c:v>
                </c:pt>
                <c:pt idx="63">
                  <c:v>402.0830286430778</c:v>
                </c:pt>
                <c:pt idx="64">
                  <c:v>409.56345410128722</c:v>
                </c:pt>
                <c:pt idx="65">
                  <c:v>417.17921343064637</c:v>
                </c:pt>
                <c:pt idx="66">
                  <c:v>424.932675856448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</c:v>
                </c:pt>
                <c:pt idx="1">
                  <c:v>13</c:v>
                </c:pt>
                <c:pt idx="2">
                  <c:v>31</c:v>
                </c:pt>
                <c:pt idx="3">
                  <c:v>37</c:v>
                </c:pt>
                <c:pt idx="4">
                  <c:v>48</c:v>
                </c:pt>
                <c:pt idx="5">
                  <c:v>54</c:v>
                </c:pt>
                <c:pt idx="6">
                  <c:v>68</c:v>
                </c:pt>
                <c:pt idx="7">
                  <c:v>77</c:v>
                </c:pt>
                <c:pt idx="8">
                  <c:v>86</c:v>
                </c:pt>
                <c:pt idx="9">
                  <c:v>93</c:v>
                </c:pt>
                <c:pt idx="10">
                  <c:v>102</c:v>
                </c:pt>
                <c:pt idx="11">
                  <c:v>110</c:v>
                </c:pt>
                <c:pt idx="12">
                  <c:v>122</c:v>
                </c:pt>
                <c:pt idx="13">
                  <c:v>129</c:v>
                </c:pt>
                <c:pt idx="14">
                  <c:v>135</c:v>
                </c:pt>
                <c:pt idx="15">
                  <c:v>139</c:v>
                </c:pt>
                <c:pt idx="16">
                  <c:v>144</c:v>
                </c:pt>
                <c:pt idx="17">
                  <c:v>149</c:v>
                </c:pt>
                <c:pt idx="18">
                  <c:v>154</c:v>
                </c:pt>
                <c:pt idx="19">
                  <c:v>162</c:v>
                </c:pt>
                <c:pt idx="20">
                  <c:v>167</c:v>
                </c:pt>
                <c:pt idx="21">
                  <c:v>173</c:v>
                </c:pt>
                <c:pt idx="22">
                  <c:v>175</c:v>
                </c:pt>
                <c:pt idx="23">
                  <c:v>180</c:v>
                </c:pt>
                <c:pt idx="24">
                  <c:v>182</c:v>
                </c:pt>
                <c:pt idx="25">
                  <c:v>188</c:v>
                </c:pt>
                <c:pt idx="26">
                  <c:v>197</c:v>
                </c:pt>
                <c:pt idx="27">
                  <c:v>201</c:v>
                </c:pt>
                <c:pt idx="28">
                  <c:v>206</c:v>
                </c:pt>
                <c:pt idx="29">
                  <c:v>212</c:v>
                </c:pt>
                <c:pt idx="30">
                  <c:v>219</c:v>
                </c:pt>
                <c:pt idx="31">
                  <c:v>222</c:v>
                </c:pt>
                <c:pt idx="32">
                  <c:v>224</c:v>
                </c:pt>
                <c:pt idx="33">
                  <c:v>225</c:v>
                </c:pt>
                <c:pt idx="34">
                  <c:v>228</c:v>
                </c:pt>
                <c:pt idx="35">
                  <c:v>233</c:v>
                </c:pt>
                <c:pt idx="36">
                  <c:v>234</c:v>
                </c:pt>
                <c:pt idx="37">
                  <c:v>235</c:v>
                </c:pt>
                <c:pt idx="38">
                  <c:v>237</c:v>
                </c:pt>
                <c:pt idx="39">
                  <c:v>241</c:v>
                </c:pt>
                <c:pt idx="40">
                  <c:v>242</c:v>
                </c:pt>
                <c:pt idx="41">
                  <c:v>242</c:v>
                </c:pt>
                <c:pt idx="42">
                  <c:v>243</c:v>
                </c:pt>
                <c:pt idx="43">
                  <c:v>245</c:v>
                </c:pt>
                <c:pt idx="44">
                  <c:v>246</c:v>
                </c:pt>
                <c:pt idx="45">
                  <c:v>247</c:v>
                </c:pt>
                <c:pt idx="46">
                  <c:v>249</c:v>
                </c:pt>
                <c:pt idx="47">
                  <c:v>250</c:v>
                </c:pt>
                <c:pt idx="48">
                  <c:v>251</c:v>
                </c:pt>
                <c:pt idx="49">
                  <c:v>253</c:v>
                </c:pt>
                <c:pt idx="50">
                  <c:v>253</c:v>
                </c:pt>
                <c:pt idx="51">
                  <c:v>254</c:v>
                </c:pt>
                <c:pt idx="52">
                  <c:v>254</c:v>
                </c:pt>
                <c:pt idx="53">
                  <c:v>255</c:v>
                </c:pt>
                <c:pt idx="54">
                  <c:v>255</c:v>
                </c:pt>
                <c:pt idx="55">
                  <c:v>255</c:v>
                </c:pt>
                <c:pt idx="56">
                  <c:v>255</c:v>
                </c:pt>
                <c:pt idx="57">
                  <c:v>255</c:v>
                </c:pt>
                <c:pt idx="58">
                  <c:v>256</c:v>
                </c:pt>
                <c:pt idx="59">
                  <c:v>257</c:v>
                </c:pt>
                <c:pt idx="60">
                  <c:v>258</c:v>
                </c:pt>
                <c:pt idx="61">
                  <c:v>259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91.20450023538839</c:v>
                </c:pt>
                <c:pt idx="27">
                  <c:v>194.3278512316941</c:v>
                </c:pt>
                <c:pt idx="28">
                  <c:v>197.3801833104462</c:v>
                </c:pt>
                <c:pt idx="29">
                  <c:v>200.34485748464968</c:v>
                </c:pt>
                <c:pt idx="30">
                  <c:v>203.22780053497925</c:v>
                </c:pt>
                <c:pt idx="31">
                  <c:v>206.0615103292042</c:v>
                </c:pt>
                <c:pt idx="32">
                  <c:v>208.83400920725296</c:v>
                </c:pt>
                <c:pt idx="33">
                  <c:v>211.53228394133708</c:v>
                </c:pt>
                <c:pt idx="34">
                  <c:v>214.15436575563353</c:v>
                </c:pt>
                <c:pt idx="35">
                  <c:v>216.70000866638182</c:v>
                </c:pt>
                <c:pt idx="36">
                  <c:v>219.16132170476166</c:v>
                </c:pt>
                <c:pt idx="37">
                  <c:v>221.53834188056277</c:v>
                </c:pt>
                <c:pt idx="38">
                  <c:v>223.83030026892436</c:v>
                </c:pt>
                <c:pt idx="39">
                  <c:v>226.033965999126</c:v>
                </c:pt>
                <c:pt idx="40">
                  <c:v>228.14641911513405</c:v>
                </c:pt>
                <c:pt idx="41">
                  <c:v>230.16645492734006</c:v>
                </c:pt>
                <c:pt idx="42">
                  <c:v>232.09420850037671</c:v>
                </c:pt>
                <c:pt idx="43">
                  <c:v>233.93336138197401</c:v>
                </c:pt>
                <c:pt idx="44">
                  <c:v>235.68728503261659</c:v>
                </c:pt>
                <c:pt idx="45">
                  <c:v>237.36364870298127</c:v>
                </c:pt>
                <c:pt idx="46">
                  <c:v>238.96381609964516</c:v>
                </c:pt>
                <c:pt idx="47">
                  <c:v>240.48832927254387</c:v>
                </c:pt>
                <c:pt idx="48">
                  <c:v>241.94217736374856</c:v>
                </c:pt>
                <c:pt idx="49">
                  <c:v>243.32873338518758</c:v>
                </c:pt>
                <c:pt idx="50">
                  <c:v>244.6493619278304</c:v>
                </c:pt>
                <c:pt idx="51">
                  <c:v>245.90732771099547</c:v>
                </c:pt>
                <c:pt idx="52">
                  <c:v>247.1073153279261</c:v>
                </c:pt>
                <c:pt idx="53">
                  <c:v>248.25298309284608</c:v>
                </c:pt>
                <c:pt idx="54">
                  <c:v>249.34554658964493</c:v>
                </c:pt>
                <c:pt idx="55">
                  <c:v>250.38774031553015</c:v>
                </c:pt>
                <c:pt idx="56">
                  <c:v>251.38206981459632</c:v>
                </c:pt>
                <c:pt idx="57">
                  <c:v>252.33082096677515</c:v>
                </c:pt>
                <c:pt idx="58">
                  <c:v>253.23614997172817</c:v>
                </c:pt>
                <c:pt idx="59">
                  <c:v>254.10040247248904</c:v>
                </c:pt>
                <c:pt idx="60">
                  <c:v>254.9256243604097</c:v>
                </c:pt>
                <c:pt idx="61">
                  <c:v>255.71369365693027</c:v>
                </c:pt>
                <c:pt idx="62">
                  <c:v>256.46672811924037</c:v>
                </c:pt>
                <c:pt idx="63">
                  <c:v>257.18625548464831</c:v>
                </c:pt>
                <c:pt idx="64">
                  <c:v>257.87417628379001</c:v>
                </c:pt>
                <c:pt idx="65">
                  <c:v>258.53185531090992</c:v>
                </c:pt>
                <c:pt idx="66">
                  <c:v>259.161082676157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70F-49E6-B8BC-76C572CC110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91.24446272735787</c:v>
                </c:pt>
                <c:pt idx="27">
                  <c:v>194.44392239710439</c:v>
                </c:pt>
                <c:pt idx="28">
                  <c:v>197.60367233160252</c:v>
                </c:pt>
                <c:pt idx="29">
                  <c:v>200.70353917035146</c:v>
                </c:pt>
                <c:pt idx="30">
                  <c:v>203.75466092886717</c:v>
                </c:pt>
                <c:pt idx="31">
                  <c:v>206.79373075693564</c:v>
                </c:pt>
                <c:pt idx="32">
                  <c:v>209.813801805428</c:v>
                </c:pt>
                <c:pt idx="33">
                  <c:v>212.80520731831589</c:v>
                </c:pt>
                <c:pt idx="34">
                  <c:v>215.76165008483196</c:v>
                </c:pt>
                <c:pt idx="35">
                  <c:v>218.68026730460218</c:v>
                </c:pt>
                <c:pt idx="36">
                  <c:v>221.55206801731123</c:v>
                </c:pt>
                <c:pt idx="37">
                  <c:v>224.37726680272675</c:v>
                </c:pt>
                <c:pt idx="38">
                  <c:v>227.15415656038698</c:v>
                </c:pt>
                <c:pt idx="39">
                  <c:v>229.87711079237778</c:v>
                </c:pt>
                <c:pt idx="40">
                  <c:v>232.53963303772522</c:v>
                </c:pt>
                <c:pt idx="41">
                  <c:v>235.13703186293984</c:v>
                </c:pt>
                <c:pt idx="42">
                  <c:v>237.66759751498176</c:v>
                </c:pt>
                <c:pt idx="43">
                  <c:v>240.13278513728875</c:v>
                </c:pt>
                <c:pt idx="44">
                  <c:v>242.53368283339597</c:v>
                </c:pt>
                <c:pt idx="45">
                  <c:v>244.87562652993384</c:v>
                </c:pt>
                <c:pt idx="46">
                  <c:v>247.1582030862578</c:v>
                </c:pt>
                <c:pt idx="47">
                  <c:v>249.37957926632043</c:v>
                </c:pt>
                <c:pt idx="48">
                  <c:v>251.54214801989792</c:v>
                </c:pt>
                <c:pt idx="49">
                  <c:v>253.64818578380812</c:v>
                </c:pt>
                <c:pt idx="50">
                  <c:v>255.69695834867053</c:v>
                </c:pt>
                <c:pt idx="51">
                  <c:v>257.69026936317715</c:v>
                </c:pt>
                <c:pt idx="52">
                  <c:v>259.63128759932528</c:v>
                </c:pt>
                <c:pt idx="53">
                  <c:v>261.52221660402245</c:v>
                </c:pt>
                <c:pt idx="54">
                  <c:v>263.36285880374675</c:v>
                </c:pt>
                <c:pt idx="55">
                  <c:v>265.15481825219808</c:v>
                </c:pt>
                <c:pt idx="56">
                  <c:v>266.89937274316839</c:v>
                </c:pt>
                <c:pt idx="57">
                  <c:v>268.59787772583985</c:v>
                </c:pt>
                <c:pt idx="58">
                  <c:v>270.25140445487239</c:v>
                </c:pt>
                <c:pt idx="59">
                  <c:v>271.86150829168679</c:v>
                </c:pt>
                <c:pt idx="60">
                  <c:v>273.42924339003577</c:v>
                </c:pt>
                <c:pt idx="61">
                  <c:v>274.95611737719736</c:v>
                </c:pt>
                <c:pt idx="62">
                  <c:v>276.44314682914012</c:v>
                </c:pt>
                <c:pt idx="63">
                  <c:v>277.89153094560061</c:v>
                </c:pt>
                <c:pt idx="64">
                  <c:v>279.30244918789344</c:v>
                </c:pt>
                <c:pt idx="65">
                  <c:v>280.67680064354636</c:v>
                </c:pt>
                <c:pt idx="66">
                  <c:v>282.015661038428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0F-49E6-B8BC-76C572CC110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91.28412247317601</c:v>
                </c:pt>
                <c:pt idx="27">
                  <c:v>194.55958211591928</c:v>
                </c:pt>
                <c:pt idx="28">
                  <c:v>197.82666145426603</c:v>
                </c:pt>
                <c:pt idx="29">
                  <c:v>201.06163448196961</c:v>
                </c:pt>
                <c:pt idx="30">
                  <c:v>204.28266616614223</c:v>
                </c:pt>
                <c:pt idx="31">
                  <c:v>207.53251419526325</c:v>
                </c:pt>
                <c:pt idx="32">
                  <c:v>210.81112102524926</c:v>
                </c:pt>
                <c:pt idx="33">
                  <c:v>214.11338314197332</c:v>
                </c:pt>
                <c:pt idx="34">
                  <c:v>217.42889175133371</c:v>
                </c:pt>
                <c:pt idx="35">
                  <c:v>220.75260276648856</c:v>
                </c:pt>
                <c:pt idx="36">
                  <c:v>224.07694953720215</c:v>
                </c:pt>
                <c:pt idx="37">
                  <c:v>227.40487882402874</c:v>
                </c:pt>
                <c:pt idx="38">
                  <c:v>230.73469806883583</c:v>
                </c:pt>
                <c:pt idx="39">
                  <c:v>234.05923547701786</c:v>
                </c:pt>
                <c:pt idx="40">
                  <c:v>237.37026109225428</c:v>
                </c:pt>
                <c:pt idx="41">
                  <c:v>240.66042267359319</c:v>
                </c:pt>
                <c:pt idx="42">
                  <c:v>243.92648850697469</c:v>
                </c:pt>
                <c:pt idx="43">
                  <c:v>247.1695375988121</c:v>
                </c:pt>
                <c:pt idx="44">
                  <c:v>250.39021740066028</c:v>
                </c:pt>
                <c:pt idx="45">
                  <c:v>253.59197778835065</c:v>
                </c:pt>
                <c:pt idx="46">
                  <c:v>256.77184313589305</c:v>
                </c:pt>
                <c:pt idx="47">
                  <c:v>259.92631139889426</c:v>
                </c:pt>
                <c:pt idx="48">
                  <c:v>263.05698124895935</c:v>
                </c:pt>
                <c:pt idx="49">
                  <c:v>266.16430559697608</c:v>
                </c:pt>
                <c:pt idx="50">
                  <c:v>269.24678193036482</c:v>
                </c:pt>
                <c:pt idx="51">
                  <c:v>272.30438564864966</c:v>
                </c:pt>
                <c:pt idx="52">
                  <c:v>275.33908609947053</c:v>
                </c:pt>
                <c:pt idx="53">
                  <c:v>278.3514927231779</c:v>
                </c:pt>
                <c:pt idx="54">
                  <c:v>281.34009401356445</c:v>
                </c:pt>
                <c:pt idx="55">
                  <c:v>284.30595975780238</c:v>
                </c:pt>
                <c:pt idx="56">
                  <c:v>287.24877935270854</c:v>
                </c:pt>
                <c:pt idx="57">
                  <c:v>290.16862028638661</c:v>
                </c:pt>
                <c:pt idx="58">
                  <c:v>293.06593672540657</c:v>
                </c:pt>
                <c:pt idx="59">
                  <c:v>295.94035548507316</c:v>
                </c:pt>
                <c:pt idx="60">
                  <c:v>298.79246794898512</c:v>
                </c:pt>
                <c:pt idx="61">
                  <c:v>301.62251238143756</c:v>
                </c:pt>
                <c:pt idx="62">
                  <c:v>304.43065397724354</c:v>
                </c:pt>
                <c:pt idx="63">
                  <c:v>307.21704483693895</c:v>
                </c:pt>
                <c:pt idx="64">
                  <c:v>309.98184137162349</c:v>
                </c:pt>
                <c:pt idx="65">
                  <c:v>312.72545456005491</c:v>
                </c:pt>
                <c:pt idx="66">
                  <c:v>315.44779730170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70F-49E6-B8BC-76C572CC110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91.34376346497922</c:v>
                </c:pt>
                <c:pt idx="27">
                  <c:v>194.73358016359089</c:v>
                </c:pt>
                <c:pt idx="28">
                  <c:v>198.16195790717867</c:v>
                </c:pt>
                <c:pt idx="29">
                  <c:v>201.59977625822887</c:v>
                </c:pt>
                <c:pt idx="30">
                  <c:v>205.07993323518707</c:v>
                </c:pt>
                <c:pt idx="31">
                  <c:v>208.65742275596432</c:v>
                </c:pt>
                <c:pt idx="32">
                  <c:v>212.3452233649769</c:v>
                </c:pt>
                <c:pt idx="33">
                  <c:v>216.14796787561772</c:v>
                </c:pt>
                <c:pt idx="34">
                  <c:v>220.04962157350954</c:v>
                </c:pt>
                <c:pt idx="35">
                  <c:v>224.04466998986524</c:v>
                </c:pt>
                <c:pt idx="36">
                  <c:v>228.1311558202147</c:v>
                </c:pt>
                <c:pt idx="37">
                  <c:v>232.32155068046222</c:v>
                </c:pt>
                <c:pt idx="38">
                  <c:v>236.61902068950599</c:v>
                </c:pt>
                <c:pt idx="39">
                  <c:v>241.01703238721132</c:v>
                </c:pt>
                <c:pt idx="40">
                  <c:v>245.50621948111677</c:v>
                </c:pt>
                <c:pt idx="41">
                  <c:v>250.07903001199529</c:v>
                </c:pt>
                <c:pt idx="42">
                  <c:v>254.73559103532398</c:v>
                </c:pt>
                <c:pt idx="43">
                  <c:v>259.48085951857189</c:v>
                </c:pt>
                <c:pt idx="44">
                  <c:v>264.31825108498873</c:v>
                </c:pt>
                <c:pt idx="45">
                  <c:v>269.25134004989008</c:v>
                </c:pt>
                <c:pt idx="46">
                  <c:v>274.27749954472955</c:v>
                </c:pt>
                <c:pt idx="47">
                  <c:v>279.39363781017607</c:v>
                </c:pt>
                <c:pt idx="48">
                  <c:v>284.6037023745908</c:v>
                </c:pt>
                <c:pt idx="49">
                  <c:v>289.91124426831851</c:v>
                </c:pt>
                <c:pt idx="50">
                  <c:v>295.31627785060641</c:v>
                </c:pt>
                <c:pt idx="51">
                  <c:v>300.81973213598764</c:v>
                </c:pt>
                <c:pt idx="52">
                  <c:v>306.42399001538342</c:v>
                </c:pt>
                <c:pt idx="53">
                  <c:v>312.13131103949274</c:v>
                </c:pt>
                <c:pt idx="54">
                  <c:v>317.94249595656913</c:v>
                </c:pt>
                <c:pt idx="55">
                  <c:v>323.86049111588619</c:v>
                </c:pt>
                <c:pt idx="56">
                  <c:v>329.88668295522871</c:v>
                </c:pt>
                <c:pt idx="57">
                  <c:v>336.02242528826287</c:v>
                </c:pt>
                <c:pt idx="58">
                  <c:v>342.26931071270019</c:v>
                </c:pt>
                <c:pt idx="59">
                  <c:v>348.62950229496647</c:v>
                </c:pt>
                <c:pt idx="60">
                  <c:v>355.10510264455149</c:v>
                </c:pt>
                <c:pt idx="61">
                  <c:v>361.69825969953553</c:v>
                </c:pt>
                <c:pt idx="62">
                  <c:v>368.41110397166221</c:v>
                </c:pt>
                <c:pt idx="63">
                  <c:v>375.24553501481677</c:v>
                </c:pt>
                <c:pt idx="64">
                  <c:v>382.20366183742169</c:v>
                </c:pt>
                <c:pt idx="65">
                  <c:v>389.28767483088279</c:v>
                </c:pt>
                <c:pt idx="66">
                  <c:v>396.499784206430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54</c:v>
                </c:pt>
                <c:pt idx="1">
                  <c:v>222</c:v>
                </c:pt>
                <c:pt idx="2">
                  <c:v>215</c:v>
                </c:pt>
                <c:pt idx="3">
                  <c:v>217</c:v>
                </c:pt>
                <c:pt idx="4">
                  <c:v>202</c:v>
                </c:pt>
                <c:pt idx="5">
                  <c:v>219</c:v>
                </c:pt>
                <c:pt idx="6">
                  <c:v>201</c:v>
                </c:pt>
                <c:pt idx="7">
                  <c:v>199</c:v>
                </c:pt>
                <c:pt idx="8">
                  <c:v>180</c:v>
                </c:pt>
                <c:pt idx="9">
                  <c:v>184</c:v>
                </c:pt>
                <c:pt idx="10">
                  <c:v>174</c:v>
                </c:pt>
                <c:pt idx="11">
                  <c:v>169</c:v>
                </c:pt>
                <c:pt idx="12">
                  <c:v>176</c:v>
                </c:pt>
                <c:pt idx="13">
                  <c:v>156</c:v>
                </c:pt>
                <c:pt idx="14">
                  <c:v>137</c:v>
                </c:pt>
                <c:pt idx="15">
                  <c:v>133</c:v>
                </c:pt>
                <c:pt idx="16">
                  <c:v>117</c:v>
                </c:pt>
                <c:pt idx="17">
                  <c:v>130</c:v>
                </c:pt>
                <c:pt idx="18">
                  <c:v>135</c:v>
                </c:pt>
                <c:pt idx="19">
                  <c:v>121</c:v>
                </c:pt>
                <c:pt idx="20">
                  <c:v>119</c:v>
                </c:pt>
                <c:pt idx="21">
                  <c:v>108</c:v>
                </c:pt>
                <c:pt idx="22">
                  <c:v>102</c:v>
                </c:pt>
                <c:pt idx="23">
                  <c:v>100</c:v>
                </c:pt>
                <c:pt idx="24">
                  <c:v>95</c:v>
                </c:pt>
                <c:pt idx="25">
                  <c:v>97</c:v>
                </c:pt>
                <c:pt idx="26">
                  <c:v>98</c:v>
                </c:pt>
                <c:pt idx="27">
                  <c:v>98</c:v>
                </c:pt>
                <c:pt idx="28">
                  <c:v>90</c:v>
                </c:pt>
                <c:pt idx="29">
                  <c:v>83</c:v>
                </c:pt>
                <c:pt idx="30">
                  <c:v>78</c:v>
                </c:pt>
                <c:pt idx="31">
                  <c:v>83</c:v>
                </c:pt>
                <c:pt idx="32">
                  <c:v>80</c:v>
                </c:pt>
                <c:pt idx="33">
                  <c:v>82</c:v>
                </c:pt>
                <c:pt idx="34">
                  <c:v>67</c:v>
                </c:pt>
                <c:pt idx="35">
                  <c:v>63</c:v>
                </c:pt>
                <c:pt idx="36">
                  <c:v>55</c:v>
                </c:pt>
                <c:pt idx="37">
                  <c:v>53</c:v>
                </c:pt>
                <c:pt idx="38">
                  <c:v>52</c:v>
                </c:pt>
                <c:pt idx="39">
                  <c:v>57</c:v>
                </c:pt>
                <c:pt idx="40">
                  <c:v>62</c:v>
                </c:pt>
                <c:pt idx="41">
                  <c:v>60</c:v>
                </c:pt>
                <c:pt idx="42">
                  <c:v>58</c:v>
                </c:pt>
                <c:pt idx="43">
                  <c:v>55</c:v>
                </c:pt>
                <c:pt idx="44">
                  <c:v>49</c:v>
                </c:pt>
                <c:pt idx="45">
                  <c:v>47</c:v>
                </c:pt>
                <c:pt idx="46">
                  <c:v>39</c:v>
                </c:pt>
                <c:pt idx="47">
                  <c:v>40</c:v>
                </c:pt>
                <c:pt idx="48">
                  <c:v>34</c:v>
                </c:pt>
                <c:pt idx="49">
                  <c:v>28</c:v>
                </c:pt>
                <c:pt idx="50">
                  <c:v>20</c:v>
                </c:pt>
                <c:pt idx="51">
                  <c:v>22</c:v>
                </c:pt>
                <c:pt idx="52">
                  <c:v>21</c:v>
                </c:pt>
                <c:pt idx="53">
                  <c:v>20</c:v>
                </c:pt>
                <c:pt idx="54">
                  <c:v>16</c:v>
                </c:pt>
                <c:pt idx="55">
                  <c:v>13</c:v>
                </c:pt>
                <c:pt idx="56">
                  <c:v>13</c:v>
                </c:pt>
                <c:pt idx="57">
                  <c:v>13</c:v>
                </c:pt>
                <c:pt idx="58">
                  <c:v>10</c:v>
                </c:pt>
                <c:pt idx="59">
                  <c:v>12</c:v>
                </c:pt>
                <c:pt idx="60">
                  <c:v>14</c:v>
                </c:pt>
                <c:pt idx="61">
                  <c:v>12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9.796616482569618</c:v>
                </c:pt>
                <c:pt idx="27">
                  <c:v>95.432209369015936</c:v>
                </c:pt>
                <c:pt idx="28">
                  <c:v>91.395378046812027</c:v>
                </c:pt>
                <c:pt idx="29">
                  <c:v>87.51808193999041</c:v>
                </c:pt>
                <c:pt idx="30">
                  <c:v>83.891861516998091</c:v>
                </c:pt>
                <c:pt idx="31">
                  <c:v>80.599539146087679</c:v>
                </c:pt>
                <c:pt idx="32">
                  <c:v>77.486630476503365</c:v>
                </c:pt>
                <c:pt idx="33">
                  <c:v>74.584979405097329</c:v>
                </c:pt>
                <c:pt idx="34">
                  <c:v>71.817595269760872</c:v>
                </c:pt>
                <c:pt idx="35">
                  <c:v>69.20299843796694</c:v>
                </c:pt>
                <c:pt idx="36">
                  <c:v>66.665959527262316</c:v>
                </c:pt>
                <c:pt idx="37">
                  <c:v>64.274303578900316</c:v>
                </c:pt>
                <c:pt idx="38">
                  <c:v>61.980756867191339</c:v>
                </c:pt>
                <c:pt idx="39">
                  <c:v>59.719239298532358</c:v>
                </c:pt>
                <c:pt idx="40">
                  <c:v>57.564144381878393</c:v>
                </c:pt>
                <c:pt idx="41">
                  <c:v>55.434175306354916</c:v>
                </c:pt>
                <c:pt idx="42">
                  <c:v>53.345523779086903</c:v>
                </c:pt>
                <c:pt idx="43">
                  <c:v>51.276698927801654</c:v>
                </c:pt>
                <c:pt idx="44">
                  <c:v>49.257178123000372</c:v>
                </c:pt>
                <c:pt idx="45">
                  <c:v>47.272670855536987</c:v>
                </c:pt>
                <c:pt idx="46">
                  <c:v>45.340183726445531</c:v>
                </c:pt>
                <c:pt idx="47">
                  <c:v>43.45836329208629</c:v>
                </c:pt>
                <c:pt idx="48">
                  <c:v>41.609669107365853</c:v>
                </c:pt>
                <c:pt idx="49">
                  <c:v>39.817831107165702</c:v>
                </c:pt>
                <c:pt idx="50">
                  <c:v>38.049698348117445</c:v>
                </c:pt>
                <c:pt idx="51">
                  <c:v>36.333527239747369</c:v>
                </c:pt>
                <c:pt idx="52">
                  <c:v>34.67352826098994</c:v>
                </c:pt>
                <c:pt idx="53">
                  <c:v>33.074369654574689</c:v>
                </c:pt>
                <c:pt idx="54">
                  <c:v>31.513728281287388</c:v>
                </c:pt>
                <c:pt idx="55">
                  <c:v>30.013179845799602</c:v>
                </c:pt>
                <c:pt idx="56">
                  <c:v>28.567131825659196</c:v>
                </c:pt>
                <c:pt idx="57">
                  <c:v>27.172380799067135</c:v>
                </c:pt>
                <c:pt idx="58">
                  <c:v>25.82470480317529</c:v>
                </c:pt>
                <c:pt idx="59">
                  <c:v>24.528894110549189</c:v>
                </c:pt>
                <c:pt idx="60">
                  <c:v>23.295089633204981</c:v>
                </c:pt>
                <c:pt idx="61">
                  <c:v>22.112807099499484</c:v>
                </c:pt>
                <c:pt idx="62">
                  <c:v>20.978589778465231</c:v>
                </c:pt>
                <c:pt idx="63">
                  <c:v>19.902008984079171</c:v>
                </c:pt>
                <c:pt idx="64">
                  <c:v>18.85648894881237</c:v>
                </c:pt>
                <c:pt idx="65">
                  <c:v>17.861250194979721</c:v>
                </c:pt>
                <c:pt idx="66">
                  <c:v>16.914187150841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18-4C15-88DE-1E210F967A2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9.873761834572491</c:v>
                </c:pt>
                <c:pt idx="27">
                  <c:v>95.650823370933907</c:v>
                </c:pt>
                <c:pt idx="28">
                  <c:v>91.806221794764298</c:v>
                </c:pt>
                <c:pt idx="29">
                  <c:v>88.161095639548776</c:v>
                </c:pt>
                <c:pt idx="30">
                  <c:v>84.813915410949846</c:v>
                </c:pt>
                <c:pt idx="31">
                  <c:v>81.852327806477817</c:v>
                </c:pt>
                <c:pt idx="32">
                  <c:v>79.127956930780783</c:v>
                </c:pt>
                <c:pt idx="33">
                  <c:v>76.674501117687782</c:v>
                </c:pt>
                <c:pt idx="34">
                  <c:v>74.401458061698179</c:v>
                </c:pt>
                <c:pt idx="35">
                  <c:v>72.31853820843348</c:v>
                </c:pt>
                <c:pt idx="36">
                  <c:v>70.344827561361313</c:v>
                </c:pt>
                <c:pt idx="37">
                  <c:v>68.54507078897484</c:v>
                </c:pt>
                <c:pt idx="38">
                  <c:v>66.867115408227988</c:v>
                </c:pt>
                <c:pt idx="39">
                  <c:v>65.237499182039471</c:v>
                </c:pt>
                <c:pt idx="40">
                  <c:v>63.72133364680117</c:v>
                </c:pt>
                <c:pt idx="41">
                  <c:v>62.228656300078285</c:v>
                </c:pt>
                <c:pt idx="42">
                  <c:v>60.771183005248155</c:v>
                </c:pt>
                <c:pt idx="43">
                  <c:v>59.322480942741507</c:v>
                </c:pt>
                <c:pt idx="44">
                  <c:v>57.907625260761733</c:v>
                </c:pt>
                <c:pt idx="45">
                  <c:v>56.508053622298789</c:v>
                </c:pt>
                <c:pt idx="46">
                  <c:v>55.138216367093854</c:v>
                </c:pt>
                <c:pt idx="47">
                  <c:v>53.793108826806083</c:v>
                </c:pt>
                <c:pt idx="48">
                  <c:v>52.451855234657685</c:v>
                </c:pt>
                <c:pt idx="49">
                  <c:v>51.137998583664782</c:v>
                </c:pt>
                <c:pt idx="50">
                  <c:v>49.816291932262033</c:v>
                </c:pt>
                <c:pt idx="51">
                  <c:v>48.514577502454486</c:v>
                </c:pt>
                <c:pt idx="52">
                  <c:v>47.236639094141509</c:v>
                </c:pt>
                <c:pt idx="53">
                  <c:v>45.987135681115056</c:v>
                </c:pt>
                <c:pt idx="54">
                  <c:v>44.743820146613778</c:v>
                </c:pt>
                <c:pt idx="55">
                  <c:v>43.52895459907586</c:v>
                </c:pt>
                <c:pt idx="56">
                  <c:v>42.337398620109418</c:v>
                </c:pt>
                <c:pt idx="57">
                  <c:v>41.167101338103961</c:v>
                </c:pt>
                <c:pt idx="58">
                  <c:v>40.014697637794541</c:v>
                </c:pt>
                <c:pt idx="59">
                  <c:v>38.886212210279751</c:v>
                </c:pt>
                <c:pt idx="60">
                  <c:v>37.792586815098034</c:v>
                </c:pt>
                <c:pt idx="61">
                  <c:v>36.725376055550456</c:v>
                </c:pt>
                <c:pt idx="62">
                  <c:v>35.681568547528407</c:v>
                </c:pt>
                <c:pt idx="63">
                  <c:v>34.672598254251696</c:v>
                </c:pt>
                <c:pt idx="64">
                  <c:v>33.672816795366572</c:v>
                </c:pt>
                <c:pt idx="65">
                  <c:v>32.702733762620781</c:v>
                </c:pt>
                <c:pt idx="66">
                  <c:v>31.761047789249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18-4C15-88DE-1E210F967A2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9.950322752090472</c:v>
                </c:pt>
                <c:pt idx="27">
                  <c:v>95.868684423101826</c:v>
                </c:pt>
                <c:pt idx="28">
                  <c:v>92.216192630450507</c:v>
                </c:pt>
                <c:pt idx="29">
                  <c:v>88.803133195372425</c:v>
                </c:pt>
                <c:pt idx="30">
                  <c:v>85.738406806630053</c:v>
                </c:pt>
                <c:pt idx="31">
                  <c:v>83.117842090356646</c:v>
                </c:pt>
                <c:pt idx="32">
                  <c:v>80.80228981186913</c:v>
                </c:pt>
                <c:pt idx="33">
                  <c:v>78.828946520166184</c:v>
                </c:pt>
                <c:pt idx="34">
                  <c:v>77.093378561249978</c:v>
                </c:pt>
                <c:pt idx="35">
                  <c:v>75.596506960355782</c:v>
                </c:pt>
                <c:pt idx="36">
                  <c:v>74.255789366148235</c:v>
                </c:pt>
                <c:pt idx="37">
                  <c:v>73.136705524085841</c:v>
                </c:pt>
                <c:pt idx="38">
                  <c:v>72.182652267783482</c:v>
                </c:pt>
                <c:pt idx="39">
                  <c:v>71.312940324875782</c:v>
                </c:pt>
                <c:pt idx="40">
                  <c:v>70.585392851515678</c:v>
                </c:pt>
                <c:pt idx="41">
                  <c:v>69.901251261733194</c:v>
                </c:pt>
                <c:pt idx="42">
                  <c:v>69.266650643388488</c:v>
                </c:pt>
                <c:pt idx="43">
                  <c:v>68.652067292044379</c:v>
                </c:pt>
                <c:pt idx="44">
                  <c:v>68.079812219685806</c:v>
                </c:pt>
                <c:pt idx="45">
                  <c:v>67.525879434559499</c:v>
                </c:pt>
                <c:pt idx="46">
                  <c:v>66.998655082885733</c:v>
                </c:pt>
                <c:pt idx="47">
                  <c:v>66.489023165156766</c:v>
                </c:pt>
                <c:pt idx="48">
                  <c:v>65.974435689545373</c:v>
                </c:pt>
                <c:pt idx="49">
                  <c:v>65.474964061591905</c:v>
                </c:pt>
                <c:pt idx="50">
                  <c:v>64.95416461675353</c:v>
                </c:pt>
                <c:pt idx="51">
                  <c:v>64.436923101794989</c:v>
                </c:pt>
                <c:pt idx="52">
                  <c:v>63.925609732559586</c:v>
                </c:pt>
                <c:pt idx="53">
                  <c:v>63.423095884978252</c:v>
                </c:pt>
                <c:pt idx="54">
                  <c:v>62.90602224143727</c:v>
                </c:pt>
                <c:pt idx="55">
                  <c:v>62.397174473474251</c:v>
                </c:pt>
                <c:pt idx="56">
                  <c:v>61.889907736815488</c:v>
                </c:pt>
                <c:pt idx="57">
                  <c:v>61.381561378188366</c:v>
                </c:pt>
                <c:pt idx="58">
                  <c:v>60.869563913111364</c:v>
                </c:pt>
                <c:pt idx="59">
                  <c:v>60.3580687300161</c:v>
                </c:pt>
                <c:pt idx="60">
                  <c:v>59.859187590541772</c:v>
                </c:pt>
                <c:pt idx="61">
                  <c:v>59.364109007186372</c:v>
                </c:pt>
                <c:pt idx="62">
                  <c:v>58.870302431541404</c:v>
                </c:pt>
                <c:pt idx="63">
                  <c:v>58.389239782673712</c:v>
                </c:pt>
                <c:pt idx="64">
                  <c:v>57.895364706435537</c:v>
                </c:pt>
                <c:pt idx="65">
                  <c:v>57.410239251058144</c:v>
                </c:pt>
                <c:pt idx="66">
                  <c:v>56.9323703711857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18-4C15-88DE-1E210F967A2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00.0654563456099</c:v>
                </c:pt>
                <c:pt idx="27">
                  <c:v>96.196436910713629</c:v>
                </c:pt>
                <c:pt idx="28">
                  <c:v>92.832630507105321</c:v>
                </c:pt>
                <c:pt idx="29">
                  <c:v>89.767926988116358</c:v>
                </c:pt>
                <c:pt idx="30">
                  <c:v>87.134980918154284</c:v>
                </c:pt>
                <c:pt idx="31">
                  <c:v>85.047401148991511</c:v>
                </c:pt>
                <c:pt idx="32">
                  <c:v>83.38418699617867</c:v>
                </c:pt>
                <c:pt idx="33">
                  <c:v>82.192099652052789</c:v>
                </c:pt>
                <c:pt idx="34">
                  <c:v>81.345256201673422</c:v>
                </c:pt>
                <c:pt idx="35">
                  <c:v>80.835260253251448</c:v>
                </c:pt>
                <c:pt idx="36">
                  <c:v>80.581994853658472</c:v>
                </c:pt>
                <c:pt idx="37">
                  <c:v>80.660318636325329</c:v>
                </c:pt>
                <c:pt idx="38">
                  <c:v>81.01342343012206</c:v>
                </c:pt>
                <c:pt idx="39">
                  <c:v>81.552125634457866</c:v>
                </c:pt>
                <c:pt idx="40">
                  <c:v>82.322505538343364</c:v>
                </c:pt>
                <c:pt idx="41">
                  <c:v>83.216240141162899</c:v>
                </c:pt>
                <c:pt idx="42">
                  <c:v>84.237990998862699</c:v>
                </c:pt>
                <c:pt idx="43">
                  <c:v>85.357623106898814</c:v>
                </c:pt>
                <c:pt idx="44">
                  <c:v>86.594982780014092</c:v>
                </c:pt>
                <c:pt idx="45">
                  <c:v>87.918364889805929</c:v>
                </c:pt>
                <c:pt idx="46">
                  <c:v>89.329793075179623</c:v>
                </c:pt>
                <c:pt idx="47">
                  <c:v>90.81399588964436</c:v>
                </c:pt>
                <c:pt idx="48">
                  <c:v>92.347071667154736</c:v>
                </c:pt>
                <c:pt idx="49">
                  <c:v>93.949249223466893</c:v>
                </c:pt>
                <c:pt idx="50">
                  <c:v>95.581099791763847</c:v>
                </c:pt>
                <c:pt idx="51">
                  <c:v>97.263916290978642</c:v>
                </c:pt>
                <c:pt idx="52">
                  <c:v>98.99573960713515</c:v>
                </c:pt>
                <c:pt idx="53">
                  <c:v>100.7781964252035</c:v>
                </c:pt>
                <c:pt idx="54">
                  <c:v>102.58800210270225</c:v>
                </c:pt>
                <c:pt idx="55">
                  <c:v>104.44728260416042</c:v>
                </c:pt>
                <c:pt idx="56">
                  <c:v>106.34839516106229</c:v>
                </c:pt>
                <c:pt idx="57">
                  <c:v>108.2872165996346</c:v>
                </c:pt>
                <c:pt idx="58">
                  <c:v>110.25968223180959</c:v>
                </c:pt>
                <c:pt idx="59">
                  <c:v>112.27110019994116</c:v>
                </c:pt>
                <c:pt idx="60">
                  <c:v>114.33277660263556</c:v>
                </c:pt>
                <c:pt idx="61">
                  <c:v>116.43609040283884</c:v>
                </c:pt>
                <c:pt idx="62">
                  <c:v>118.57878759276221</c:v>
                </c:pt>
                <c:pt idx="63">
                  <c:v>120.77214982379544</c:v>
                </c:pt>
                <c:pt idx="64">
                  <c:v>122.99084662752128</c:v>
                </c:pt>
                <c:pt idx="65">
                  <c:v>125.25624922186302</c:v>
                </c:pt>
                <c:pt idx="66">
                  <c:v>127.567873313809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18-4C15-88DE-1E210F967A2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18</c:v>
                </c:pt>
                <c:pt idx="1">
                  <c:v>318</c:v>
                </c:pt>
                <c:pt idx="2">
                  <c:v>318</c:v>
                </c:pt>
                <c:pt idx="3">
                  <c:v>318</c:v>
                </c:pt>
                <c:pt idx="4">
                  <c:v>318</c:v>
                </c:pt>
                <c:pt idx="5">
                  <c:v>318</c:v>
                </c:pt>
                <c:pt idx="6">
                  <c:v>318</c:v>
                </c:pt>
                <c:pt idx="7">
                  <c:v>318</c:v>
                </c:pt>
                <c:pt idx="8">
                  <c:v>318</c:v>
                </c:pt>
                <c:pt idx="9">
                  <c:v>318</c:v>
                </c:pt>
                <c:pt idx="10">
                  <c:v>318</c:v>
                </c:pt>
                <c:pt idx="11">
                  <c:v>318</c:v>
                </c:pt>
                <c:pt idx="12">
                  <c:v>318</c:v>
                </c:pt>
                <c:pt idx="13">
                  <c:v>318</c:v>
                </c:pt>
                <c:pt idx="14">
                  <c:v>318</c:v>
                </c:pt>
                <c:pt idx="15">
                  <c:v>318</c:v>
                </c:pt>
                <c:pt idx="16">
                  <c:v>318</c:v>
                </c:pt>
                <c:pt idx="17">
                  <c:v>318</c:v>
                </c:pt>
                <c:pt idx="18">
                  <c:v>318</c:v>
                </c:pt>
                <c:pt idx="19">
                  <c:v>318</c:v>
                </c:pt>
                <c:pt idx="20">
                  <c:v>318</c:v>
                </c:pt>
                <c:pt idx="21">
                  <c:v>318</c:v>
                </c:pt>
                <c:pt idx="22">
                  <c:v>318</c:v>
                </c:pt>
                <c:pt idx="23">
                  <c:v>318</c:v>
                </c:pt>
                <c:pt idx="24">
                  <c:v>318</c:v>
                </c:pt>
                <c:pt idx="25">
                  <c:v>318</c:v>
                </c:pt>
                <c:pt idx="26">
                  <c:v>318</c:v>
                </c:pt>
                <c:pt idx="27">
                  <c:v>318</c:v>
                </c:pt>
                <c:pt idx="28">
                  <c:v>318</c:v>
                </c:pt>
                <c:pt idx="29">
                  <c:v>318</c:v>
                </c:pt>
                <c:pt idx="30">
                  <c:v>318</c:v>
                </c:pt>
                <c:pt idx="31">
                  <c:v>318</c:v>
                </c:pt>
                <c:pt idx="32">
                  <c:v>318</c:v>
                </c:pt>
                <c:pt idx="33">
                  <c:v>318</c:v>
                </c:pt>
                <c:pt idx="34">
                  <c:v>318</c:v>
                </c:pt>
                <c:pt idx="35">
                  <c:v>318</c:v>
                </c:pt>
                <c:pt idx="36">
                  <c:v>318</c:v>
                </c:pt>
                <c:pt idx="37">
                  <c:v>318</c:v>
                </c:pt>
                <c:pt idx="38">
                  <c:v>318</c:v>
                </c:pt>
                <c:pt idx="39">
                  <c:v>318</c:v>
                </c:pt>
                <c:pt idx="40">
                  <c:v>318</c:v>
                </c:pt>
                <c:pt idx="41">
                  <c:v>318</c:v>
                </c:pt>
                <c:pt idx="42">
                  <c:v>318</c:v>
                </c:pt>
                <c:pt idx="43">
                  <c:v>318</c:v>
                </c:pt>
                <c:pt idx="44">
                  <c:v>318</c:v>
                </c:pt>
                <c:pt idx="45">
                  <c:v>318</c:v>
                </c:pt>
                <c:pt idx="46">
                  <c:v>318</c:v>
                </c:pt>
                <c:pt idx="47">
                  <c:v>318</c:v>
                </c:pt>
                <c:pt idx="48">
                  <c:v>318</c:v>
                </c:pt>
                <c:pt idx="49">
                  <c:v>318</c:v>
                </c:pt>
                <c:pt idx="50">
                  <c:v>318</c:v>
                </c:pt>
                <c:pt idx="51">
                  <c:v>318</c:v>
                </c:pt>
                <c:pt idx="52">
                  <c:v>318</c:v>
                </c:pt>
                <c:pt idx="53">
                  <c:v>318</c:v>
                </c:pt>
                <c:pt idx="54">
                  <c:v>318</c:v>
                </c:pt>
                <c:pt idx="55">
                  <c:v>318</c:v>
                </c:pt>
                <c:pt idx="56">
                  <c:v>318</c:v>
                </c:pt>
                <c:pt idx="57">
                  <c:v>318</c:v>
                </c:pt>
                <c:pt idx="58">
                  <c:v>318</c:v>
                </c:pt>
                <c:pt idx="59">
                  <c:v>318</c:v>
                </c:pt>
                <c:pt idx="60">
                  <c:v>318</c:v>
                </c:pt>
                <c:pt idx="61">
                  <c:v>318</c:v>
                </c:pt>
                <c:pt idx="62">
                  <c:v>318</c:v>
                </c:pt>
                <c:pt idx="63">
                  <c:v>318</c:v>
                </c:pt>
                <c:pt idx="64">
                  <c:v>318</c:v>
                </c:pt>
                <c:pt idx="65">
                  <c:v>318</c:v>
                </c:pt>
                <c:pt idx="66">
                  <c:v>3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</c:v>
                </c:pt>
                <c:pt idx="1">
                  <c:v>17</c:v>
                </c:pt>
                <c:pt idx="2">
                  <c:v>23</c:v>
                </c:pt>
                <c:pt idx="3">
                  <c:v>32</c:v>
                </c:pt>
                <c:pt idx="4">
                  <c:v>35</c:v>
                </c:pt>
                <c:pt idx="5">
                  <c:v>42</c:v>
                </c:pt>
                <c:pt idx="6">
                  <c:v>46</c:v>
                </c:pt>
                <c:pt idx="7">
                  <c:v>49</c:v>
                </c:pt>
                <c:pt idx="8">
                  <c:v>58</c:v>
                </c:pt>
                <c:pt idx="9">
                  <c:v>60</c:v>
                </c:pt>
                <c:pt idx="10">
                  <c:v>61</c:v>
                </c:pt>
                <c:pt idx="11">
                  <c:v>65</c:v>
                </c:pt>
                <c:pt idx="12">
                  <c:v>69</c:v>
                </c:pt>
                <c:pt idx="13">
                  <c:v>73</c:v>
                </c:pt>
                <c:pt idx="14">
                  <c:v>77</c:v>
                </c:pt>
                <c:pt idx="15">
                  <c:v>80</c:v>
                </c:pt>
                <c:pt idx="16">
                  <c:v>84</c:v>
                </c:pt>
                <c:pt idx="17">
                  <c:v>87</c:v>
                </c:pt>
                <c:pt idx="18">
                  <c:v>92</c:v>
                </c:pt>
                <c:pt idx="19">
                  <c:v>96</c:v>
                </c:pt>
                <c:pt idx="20">
                  <c:v>97</c:v>
                </c:pt>
                <c:pt idx="21">
                  <c:v>101</c:v>
                </c:pt>
                <c:pt idx="22">
                  <c:v>102</c:v>
                </c:pt>
                <c:pt idx="23">
                  <c:v>104</c:v>
                </c:pt>
                <c:pt idx="24">
                  <c:v>109</c:v>
                </c:pt>
                <c:pt idx="25">
                  <c:v>114</c:v>
                </c:pt>
                <c:pt idx="26">
                  <c:v>117</c:v>
                </c:pt>
                <c:pt idx="27">
                  <c:v>119</c:v>
                </c:pt>
                <c:pt idx="28">
                  <c:v>119</c:v>
                </c:pt>
                <c:pt idx="29">
                  <c:v>120</c:v>
                </c:pt>
                <c:pt idx="30">
                  <c:v>120</c:v>
                </c:pt>
                <c:pt idx="31">
                  <c:v>123</c:v>
                </c:pt>
                <c:pt idx="32">
                  <c:v>124</c:v>
                </c:pt>
                <c:pt idx="33">
                  <c:v>127</c:v>
                </c:pt>
                <c:pt idx="34">
                  <c:v>127</c:v>
                </c:pt>
                <c:pt idx="35">
                  <c:v>129</c:v>
                </c:pt>
                <c:pt idx="36">
                  <c:v>130</c:v>
                </c:pt>
                <c:pt idx="37">
                  <c:v>130</c:v>
                </c:pt>
                <c:pt idx="38">
                  <c:v>130</c:v>
                </c:pt>
                <c:pt idx="39">
                  <c:v>131</c:v>
                </c:pt>
                <c:pt idx="40">
                  <c:v>132</c:v>
                </c:pt>
                <c:pt idx="41">
                  <c:v>132</c:v>
                </c:pt>
                <c:pt idx="42">
                  <c:v>132</c:v>
                </c:pt>
                <c:pt idx="43">
                  <c:v>132</c:v>
                </c:pt>
                <c:pt idx="44">
                  <c:v>132</c:v>
                </c:pt>
                <c:pt idx="45">
                  <c:v>133</c:v>
                </c:pt>
                <c:pt idx="46">
                  <c:v>136</c:v>
                </c:pt>
                <c:pt idx="47">
                  <c:v>138</c:v>
                </c:pt>
                <c:pt idx="48">
                  <c:v>140</c:v>
                </c:pt>
                <c:pt idx="49">
                  <c:v>140</c:v>
                </c:pt>
                <c:pt idx="50">
                  <c:v>141</c:v>
                </c:pt>
                <c:pt idx="51">
                  <c:v>142</c:v>
                </c:pt>
                <c:pt idx="52">
                  <c:v>142</c:v>
                </c:pt>
                <c:pt idx="53">
                  <c:v>144</c:v>
                </c:pt>
                <c:pt idx="54">
                  <c:v>145</c:v>
                </c:pt>
                <c:pt idx="55">
                  <c:v>146</c:v>
                </c:pt>
                <c:pt idx="56">
                  <c:v>148</c:v>
                </c:pt>
                <c:pt idx="57">
                  <c:v>148</c:v>
                </c:pt>
                <c:pt idx="58">
                  <c:v>148</c:v>
                </c:pt>
                <c:pt idx="59">
                  <c:v>148</c:v>
                </c:pt>
                <c:pt idx="60">
                  <c:v>149</c:v>
                </c:pt>
                <c:pt idx="61">
                  <c:v>15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15.73622478435433</c:v>
                </c:pt>
                <c:pt idx="27">
                  <c:v>117.43368206009076</c:v>
                </c:pt>
                <c:pt idx="28">
                  <c:v>119.09319544589329</c:v>
                </c:pt>
                <c:pt idx="29">
                  <c:v>120.70287824091342</c:v>
                </c:pt>
                <c:pt idx="30">
                  <c:v>122.26801126624547</c:v>
                </c:pt>
                <c:pt idx="31">
                  <c:v>123.8073948516424</c:v>
                </c:pt>
                <c:pt idx="32">
                  <c:v>125.31538216826317</c:v>
                </c:pt>
                <c:pt idx="33">
                  <c:v>126.78417109530611</c:v>
                </c:pt>
                <c:pt idx="34">
                  <c:v>128.21398043679275</c:v>
                </c:pt>
                <c:pt idx="35">
                  <c:v>129.60316745227786</c:v>
                </c:pt>
                <c:pt idx="36">
                  <c:v>130.94644342705362</c:v>
                </c:pt>
                <c:pt idx="37">
                  <c:v>132.24468883302112</c:v>
                </c:pt>
                <c:pt idx="38">
                  <c:v>133.49654634431676</c:v>
                </c:pt>
                <c:pt idx="39">
                  <c:v>134.70067658997391</c:v>
                </c:pt>
                <c:pt idx="40">
                  <c:v>135.854903172923</c:v>
                </c:pt>
                <c:pt idx="41">
                  <c:v>136.9587661941116</c:v>
                </c:pt>
                <c:pt idx="42">
                  <c:v>138.01198876250268</c:v>
                </c:pt>
                <c:pt idx="43">
                  <c:v>139.0163650823921</c:v>
                </c:pt>
                <c:pt idx="44">
                  <c:v>139.97455979926076</c:v>
                </c:pt>
                <c:pt idx="45">
                  <c:v>140.8903258443365</c:v>
                </c:pt>
                <c:pt idx="46">
                  <c:v>141.76427923234928</c:v>
                </c:pt>
                <c:pt idx="47">
                  <c:v>142.59712699724673</c:v>
                </c:pt>
                <c:pt idx="48">
                  <c:v>143.39163368054247</c:v>
                </c:pt>
                <c:pt idx="49">
                  <c:v>144.14929361843065</c:v>
                </c:pt>
                <c:pt idx="50">
                  <c:v>144.87084262997138</c:v>
                </c:pt>
                <c:pt idx="51">
                  <c:v>145.55829541483098</c:v>
                </c:pt>
                <c:pt idx="52">
                  <c:v>146.21406557786725</c:v>
                </c:pt>
                <c:pt idx="53">
                  <c:v>146.83987207112182</c:v>
                </c:pt>
                <c:pt idx="54">
                  <c:v>147.43663558130854</c:v>
                </c:pt>
                <c:pt idx="55">
                  <c:v>148.00596580926992</c:v>
                </c:pt>
                <c:pt idx="56">
                  <c:v>148.54915585278198</c:v>
                </c:pt>
                <c:pt idx="57">
                  <c:v>149.06744000351685</c:v>
                </c:pt>
                <c:pt idx="58">
                  <c:v>149.56199872142975</c:v>
                </c:pt>
                <c:pt idx="59">
                  <c:v>150.03411472915354</c:v>
                </c:pt>
                <c:pt idx="60">
                  <c:v>150.48490560197291</c:v>
                </c:pt>
                <c:pt idx="61">
                  <c:v>150.91539792702304</c:v>
                </c:pt>
                <c:pt idx="62">
                  <c:v>151.32674804060559</c:v>
                </c:pt>
                <c:pt idx="63">
                  <c:v>151.71978971677663</c:v>
                </c:pt>
                <c:pt idx="64">
                  <c:v>152.09556053003979</c:v>
                </c:pt>
                <c:pt idx="65">
                  <c:v>152.45480843096843</c:v>
                </c:pt>
                <c:pt idx="66">
                  <c:v>152.798510319484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70F-44FA-8EAA-CF7A48496AD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15.75775484508887</c:v>
                </c:pt>
                <c:pt idx="27">
                  <c:v>117.49611042823022</c:v>
                </c:pt>
                <c:pt idx="28">
                  <c:v>119.21339214405022</c:v>
                </c:pt>
                <c:pt idx="29">
                  <c:v>120.89577724805493</c:v>
                </c:pt>
                <c:pt idx="30">
                  <c:v>122.55136599057884</c:v>
                </c:pt>
                <c:pt idx="31">
                  <c:v>124.20133328907842</c:v>
                </c:pt>
                <c:pt idx="32">
                  <c:v>125.84291976772802</c:v>
                </c:pt>
                <c:pt idx="33">
                  <c:v>127.47017184656336</c:v>
                </c:pt>
                <c:pt idx="34">
                  <c:v>129.08100076530241</c:v>
                </c:pt>
                <c:pt idx="35">
                  <c:v>130.67243954386919</c:v>
                </c:pt>
                <c:pt idx="36">
                  <c:v>132.2385668779971</c:v>
                </c:pt>
                <c:pt idx="37">
                  <c:v>133.78027635639469</c:v>
                </c:pt>
                <c:pt idx="38">
                  <c:v>135.29573523686739</c:v>
                </c:pt>
                <c:pt idx="39">
                  <c:v>136.7822739840131</c:v>
                </c:pt>
                <c:pt idx="40">
                  <c:v>138.23582196359754</c:v>
                </c:pt>
                <c:pt idx="41">
                  <c:v>139.65396505993181</c:v>
                </c:pt>
                <c:pt idx="42">
                  <c:v>141.03539705471135</c:v>
                </c:pt>
                <c:pt idx="43">
                  <c:v>142.38068978947072</c:v>
                </c:pt>
                <c:pt idx="44">
                  <c:v>143.69126326625837</c:v>
                </c:pt>
                <c:pt idx="45">
                  <c:v>144.96962672981735</c:v>
                </c:pt>
                <c:pt idx="46">
                  <c:v>146.21540915485284</c:v>
                </c:pt>
                <c:pt idx="47">
                  <c:v>147.42802952762369</c:v>
                </c:pt>
                <c:pt idx="48">
                  <c:v>148.60883361535448</c:v>
                </c:pt>
                <c:pt idx="49">
                  <c:v>149.75870320284989</c:v>
                </c:pt>
                <c:pt idx="50">
                  <c:v>150.87721446354044</c:v>
                </c:pt>
                <c:pt idx="51">
                  <c:v>151.96558837215952</c:v>
                </c:pt>
                <c:pt idx="52">
                  <c:v>153.02541913253759</c:v>
                </c:pt>
                <c:pt idx="53">
                  <c:v>154.05762589240499</c:v>
                </c:pt>
                <c:pt idx="54">
                  <c:v>155.06234237129308</c:v>
                </c:pt>
                <c:pt idx="55">
                  <c:v>156.04056416894832</c:v>
                </c:pt>
                <c:pt idx="56">
                  <c:v>156.9929219368386</c:v>
                </c:pt>
                <c:pt idx="57">
                  <c:v>157.92013810622853</c:v>
                </c:pt>
                <c:pt idx="58">
                  <c:v>158.82279937232403</c:v>
                </c:pt>
                <c:pt idx="59">
                  <c:v>159.70175424564724</c:v>
                </c:pt>
                <c:pt idx="60">
                  <c:v>160.55757728610109</c:v>
                </c:pt>
                <c:pt idx="61">
                  <c:v>161.39109076947489</c:v>
                </c:pt>
                <c:pt idx="62">
                  <c:v>162.20284938744089</c:v>
                </c:pt>
                <c:pt idx="63">
                  <c:v>162.99350994925553</c:v>
                </c:pt>
                <c:pt idx="64">
                  <c:v>163.76371334424886</c:v>
                </c:pt>
                <c:pt idx="65">
                  <c:v>164.51395340889223</c:v>
                </c:pt>
                <c:pt idx="66">
                  <c:v>165.244817707836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0F-44FA-8EAA-CF7A48496AD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15.77912179930266</c:v>
                </c:pt>
                <c:pt idx="27">
                  <c:v>117.55831792790052</c:v>
                </c:pt>
                <c:pt idx="28">
                  <c:v>119.33331986761655</c:v>
                </c:pt>
                <c:pt idx="29">
                  <c:v>121.08836092758816</c:v>
                </c:pt>
                <c:pt idx="30">
                  <c:v>122.835338118398</c:v>
                </c:pt>
                <c:pt idx="31">
                  <c:v>124.59880244822914</c:v>
                </c:pt>
                <c:pt idx="32">
                  <c:v>126.379882977069</c:v>
                </c:pt>
                <c:pt idx="33">
                  <c:v>128.17512931491217</c:v>
                </c:pt>
                <c:pt idx="34">
                  <c:v>129.98026185609862</c:v>
                </c:pt>
                <c:pt idx="35">
                  <c:v>131.79123106565913</c:v>
                </c:pt>
                <c:pt idx="36">
                  <c:v>133.60285766363475</c:v>
                </c:pt>
                <c:pt idx="37">
                  <c:v>135.41743803015612</c:v>
                </c:pt>
                <c:pt idx="38">
                  <c:v>137.23319514289423</c:v>
                </c:pt>
                <c:pt idx="39">
                  <c:v>139.04660738413497</c:v>
                </c:pt>
                <c:pt idx="40">
                  <c:v>140.8527101931171</c:v>
                </c:pt>
                <c:pt idx="41">
                  <c:v>142.64758754330313</c:v>
                </c:pt>
                <c:pt idx="42">
                  <c:v>144.42909391943894</c:v>
                </c:pt>
                <c:pt idx="43">
                  <c:v>146.19758432680462</c:v>
                </c:pt>
                <c:pt idx="44">
                  <c:v>147.95423185987696</c:v>
                </c:pt>
                <c:pt idx="45">
                  <c:v>149.70055557255642</c:v>
                </c:pt>
                <c:pt idx="46">
                  <c:v>151.43478616267316</c:v>
                </c:pt>
                <c:pt idx="47">
                  <c:v>153.15543570926113</c:v>
                </c:pt>
                <c:pt idx="48">
                  <c:v>154.86340004570474</c:v>
                </c:pt>
                <c:pt idx="49">
                  <c:v>156.55856674051353</c:v>
                </c:pt>
                <c:pt idx="50">
                  <c:v>158.24008379861877</c:v>
                </c:pt>
                <c:pt idx="51">
                  <c:v>159.90817301121018</c:v>
                </c:pt>
                <c:pt idx="52">
                  <c:v>161.56378493605581</c:v>
                </c:pt>
                <c:pt idx="53">
                  <c:v>163.20696659375488</c:v>
                </c:pt>
                <c:pt idx="54">
                  <c:v>164.83711967262303</c:v>
                </c:pt>
                <c:pt idx="55">
                  <c:v>166.4549424448831</c:v>
                </c:pt>
                <c:pt idx="56">
                  <c:v>168.06021069335003</c:v>
                </c:pt>
                <c:pt idx="57">
                  <c:v>169.65294973407674</c:v>
                </c:pt>
                <c:pt idx="58">
                  <c:v>171.23340093898173</c:v>
                </c:pt>
                <c:pt idx="59">
                  <c:v>172.8013623980743</c:v>
                </c:pt>
                <c:pt idx="60">
                  <c:v>174.35715422579051</c:v>
                </c:pt>
                <c:pt idx="61">
                  <c:v>175.90090353572583</c:v>
                </c:pt>
                <c:pt idx="62">
                  <c:v>177.43270582669649</c:v>
                </c:pt>
                <c:pt idx="63">
                  <c:v>178.95264511609679</c:v>
                </c:pt>
                <c:pt idx="64">
                  <c:v>180.46080661975014</c:v>
                </c:pt>
                <c:pt idx="65">
                  <c:v>181.95740978973222</c:v>
                </c:pt>
                <c:pt idx="66">
                  <c:v>183.442408717351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70F-44FA-8EAA-CF7A48496AD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15.81125378388388</c:v>
                </c:pt>
                <c:pt idx="27">
                  <c:v>117.65190271816141</c:v>
                </c:pt>
                <c:pt idx="28">
                  <c:v>119.5136483619909</c:v>
                </c:pt>
                <c:pt idx="29">
                  <c:v>121.37777351951718</c:v>
                </c:pt>
                <c:pt idx="30">
                  <c:v>123.26412868087912</c:v>
                </c:pt>
                <c:pt idx="31">
                  <c:v>125.2040098693687</c:v>
                </c:pt>
                <c:pt idx="32">
                  <c:v>127.20583740106061</c:v>
                </c:pt>
                <c:pt idx="33">
                  <c:v>129.27146998402196</c:v>
                </c:pt>
                <c:pt idx="34">
                  <c:v>131.39362972289968</c:v>
                </c:pt>
                <c:pt idx="35">
                  <c:v>133.56817025099522</c:v>
                </c:pt>
                <c:pt idx="36">
                  <c:v>135.79291785712783</c:v>
                </c:pt>
                <c:pt idx="37">
                  <c:v>138.07522642849062</c:v>
                </c:pt>
                <c:pt idx="38">
                  <c:v>140.41603623475655</c:v>
                </c:pt>
                <c:pt idx="39">
                  <c:v>142.81217426124022</c:v>
                </c:pt>
                <c:pt idx="40">
                  <c:v>145.25814850402247</c:v>
                </c:pt>
                <c:pt idx="41">
                  <c:v>147.74985370972124</c:v>
                </c:pt>
                <c:pt idx="42">
                  <c:v>150.28694871396007</c:v>
                </c:pt>
                <c:pt idx="43">
                  <c:v>152.87188172525268</c:v>
                </c:pt>
                <c:pt idx="44">
                  <c:v>155.50734131655852</c:v>
                </c:pt>
                <c:pt idx="45">
                  <c:v>158.19497713887975</c:v>
                </c:pt>
                <c:pt idx="46">
                  <c:v>160.93319939479875</c:v>
                </c:pt>
                <c:pt idx="47">
                  <c:v>163.72075608623234</c:v>
                </c:pt>
                <c:pt idx="48">
                  <c:v>166.5598006763235</c:v>
                </c:pt>
                <c:pt idx="49">
                  <c:v>169.45189686771246</c:v>
                </c:pt>
                <c:pt idx="50">
                  <c:v>172.39701032672468</c:v>
                </c:pt>
                <c:pt idx="51">
                  <c:v>175.3958957031617</c:v>
                </c:pt>
                <c:pt idx="52">
                  <c:v>178.44974914238401</c:v>
                </c:pt>
                <c:pt idx="53">
                  <c:v>181.55950560844917</c:v>
                </c:pt>
                <c:pt idx="54">
                  <c:v>184.7257956778993</c:v>
                </c:pt>
                <c:pt idx="55">
                  <c:v>187.95034502068668</c:v>
                </c:pt>
                <c:pt idx="56">
                  <c:v>191.23387364574796</c:v>
                </c:pt>
                <c:pt idx="57">
                  <c:v>194.57710989615731</c:v>
                </c:pt>
                <c:pt idx="58">
                  <c:v>197.98091517354533</c:v>
                </c:pt>
                <c:pt idx="59">
                  <c:v>201.44645898968906</c:v>
                </c:pt>
                <c:pt idx="60">
                  <c:v>204.97488096331682</c:v>
                </c:pt>
                <c:pt idx="61">
                  <c:v>208.56735035169254</c:v>
                </c:pt>
                <c:pt idx="62">
                  <c:v>212.22503732491634</c:v>
                </c:pt>
                <c:pt idx="63">
                  <c:v>215.94898368151144</c:v>
                </c:pt>
                <c:pt idx="64">
                  <c:v>219.74033476020074</c:v>
                </c:pt>
                <c:pt idx="65">
                  <c:v>223.600278213129</c:v>
                </c:pt>
                <c:pt idx="66">
                  <c:v>227.5300158879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4</c:v>
                </c:pt>
                <c:pt idx="5">
                  <c:v>6</c:v>
                </c:pt>
                <c:pt idx="6">
                  <c:v>7</c:v>
                </c:pt>
                <c:pt idx="7">
                  <c:v>9</c:v>
                </c:pt>
                <c:pt idx="8">
                  <c:v>9</c:v>
                </c:pt>
                <c:pt idx="9">
                  <c:v>10</c:v>
                </c:pt>
                <c:pt idx="10">
                  <c:v>10</c:v>
                </c:pt>
                <c:pt idx="11">
                  <c:v>11</c:v>
                </c:pt>
                <c:pt idx="12">
                  <c:v>11</c:v>
                </c:pt>
                <c:pt idx="13">
                  <c:v>11</c:v>
                </c:pt>
                <c:pt idx="14">
                  <c:v>11</c:v>
                </c:pt>
                <c:pt idx="15">
                  <c:v>12</c:v>
                </c:pt>
                <c:pt idx="16">
                  <c:v>13</c:v>
                </c:pt>
                <c:pt idx="17">
                  <c:v>13</c:v>
                </c:pt>
                <c:pt idx="18">
                  <c:v>13</c:v>
                </c:pt>
                <c:pt idx="19">
                  <c:v>13</c:v>
                </c:pt>
                <c:pt idx="20">
                  <c:v>13</c:v>
                </c:pt>
                <c:pt idx="21">
                  <c:v>13</c:v>
                </c:pt>
                <c:pt idx="22">
                  <c:v>13</c:v>
                </c:pt>
                <c:pt idx="23">
                  <c:v>14</c:v>
                </c:pt>
                <c:pt idx="24">
                  <c:v>15</c:v>
                </c:pt>
                <c:pt idx="25">
                  <c:v>15</c:v>
                </c:pt>
                <c:pt idx="26">
                  <c:v>15</c:v>
                </c:pt>
                <c:pt idx="27">
                  <c:v>15</c:v>
                </c:pt>
                <c:pt idx="28">
                  <c:v>16</c:v>
                </c:pt>
                <c:pt idx="29">
                  <c:v>16</c:v>
                </c:pt>
                <c:pt idx="30">
                  <c:v>16</c:v>
                </c:pt>
                <c:pt idx="31">
                  <c:v>16</c:v>
                </c:pt>
                <c:pt idx="32">
                  <c:v>18</c:v>
                </c:pt>
                <c:pt idx="33">
                  <c:v>18</c:v>
                </c:pt>
                <c:pt idx="34">
                  <c:v>18</c:v>
                </c:pt>
                <c:pt idx="35">
                  <c:v>19</c:v>
                </c:pt>
                <c:pt idx="36">
                  <c:v>19</c:v>
                </c:pt>
                <c:pt idx="37">
                  <c:v>19</c:v>
                </c:pt>
                <c:pt idx="38">
                  <c:v>19</c:v>
                </c:pt>
                <c:pt idx="39">
                  <c:v>19</c:v>
                </c:pt>
                <c:pt idx="40">
                  <c:v>20</c:v>
                </c:pt>
                <c:pt idx="41">
                  <c:v>20</c:v>
                </c:pt>
                <c:pt idx="42">
                  <c:v>20</c:v>
                </c:pt>
                <c:pt idx="43">
                  <c:v>20</c:v>
                </c:pt>
                <c:pt idx="44">
                  <c:v>20</c:v>
                </c:pt>
                <c:pt idx="45">
                  <c:v>20</c:v>
                </c:pt>
                <c:pt idx="46">
                  <c:v>20</c:v>
                </c:pt>
                <c:pt idx="47">
                  <c:v>20</c:v>
                </c:pt>
                <c:pt idx="48">
                  <c:v>20</c:v>
                </c:pt>
                <c:pt idx="49">
                  <c:v>20</c:v>
                </c:pt>
                <c:pt idx="50">
                  <c:v>20</c:v>
                </c:pt>
                <c:pt idx="51">
                  <c:v>20</c:v>
                </c:pt>
                <c:pt idx="52">
                  <c:v>20</c:v>
                </c:pt>
                <c:pt idx="53">
                  <c:v>20</c:v>
                </c:pt>
                <c:pt idx="54">
                  <c:v>20</c:v>
                </c:pt>
                <c:pt idx="55">
                  <c:v>20</c:v>
                </c:pt>
                <c:pt idx="56">
                  <c:v>20</c:v>
                </c:pt>
                <c:pt idx="57">
                  <c:v>20</c:v>
                </c:pt>
                <c:pt idx="58">
                  <c:v>20</c:v>
                </c:pt>
                <c:pt idx="59">
                  <c:v>20</c:v>
                </c:pt>
                <c:pt idx="60">
                  <c:v>20</c:v>
                </c:pt>
                <c:pt idx="61">
                  <c:v>2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5.075773945451473</c:v>
                </c:pt>
                <c:pt idx="27">
                  <c:v>15.150121169578357</c:v>
                </c:pt>
                <c:pt idx="28">
                  <c:v>15.222839684745791</c:v>
                </c:pt>
                <c:pt idx="29">
                  <c:v>15.29326426225848</c:v>
                </c:pt>
                <c:pt idx="30">
                  <c:v>15.36173093062277</c:v>
                </c:pt>
                <c:pt idx="31">
                  <c:v>15.429121023493499</c:v>
                </c:pt>
                <c:pt idx="32">
                  <c:v>15.495231080319126</c:v>
                </c:pt>
                <c:pt idx="33">
                  <c:v>15.559682267636237</c:v>
                </c:pt>
                <c:pt idx="34">
                  <c:v>15.622549699216073</c:v>
                </c:pt>
                <c:pt idx="35">
                  <c:v>15.683684693821618</c:v>
                </c:pt>
                <c:pt idx="36">
                  <c:v>15.742804753931525</c:v>
                </c:pt>
                <c:pt idx="37">
                  <c:v>15.799992189914599</c:v>
                </c:pt>
                <c:pt idx="38">
                  <c:v>15.855139784742262</c:v>
                </c:pt>
                <c:pt idx="39">
                  <c:v>15.908210053790251</c:v>
                </c:pt>
                <c:pt idx="40">
                  <c:v>15.959077699540648</c:v>
                </c:pt>
                <c:pt idx="41">
                  <c:v>16.007732484628455</c:v>
                </c:pt>
                <c:pt idx="42">
                  <c:v>16.054144470084836</c:v>
                </c:pt>
                <c:pt idx="43">
                  <c:v>16.098381734721077</c:v>
                </c:pt>
                <c:pt idx="44">
                  <c:v>16.140603309978626</c:v>
                </c:pt>
                <c:pt idx="45">
                  <c:v>16.180952464632021</c:v>
                </c:pt>
                <c:pt idx="46">
                  <c:v>16.21944981751022</c:v>
                </c:pt>
                <c:pt idx="47">
                  <c:v>16.256147307579308</c:v>
                </c:pt>
                <c:pt idx="48">
                  <c:v>16.291168718262092</c:v>
                </c:pt>
                <c:pt idx="49">
                  <c:v>16.324562273103624</c:v>
                </c:pt>
                <c:pt idx="50">
                  <c:v>16.356359905487299</c:v>
                </c:pt>
                <c:pt idx="51">
                  <c:v>16.386662081790689</c:v>
                </c:pt>
                <c:pt idx="52">
                  <c:v>16.415567786563571</c:v>
                </c:pt>
                <c:pt idx="53">
                  <c:v>16.443138618328046</c:v>
                </c:pt>
                <c:pt idx="54">
                  <c:v>16.469428125080118</c:v>
                </c:pt>
                <c:pt idx="55">
                  <c:v>16.494513093781535</c:v>
                </c:pt>
                <c:pt idx="56">
                  <c:v>16.518446673055116</c:v>
                </c:pt>
                <c:pt idx="57">
                  <c:v>16.541282515931471</c:v>
                </c:pt>
                <c:pt idx="58">
                  <c:v>16.563072764053022</c:v>
                </c:pt>
                <c:pt idx="59">
                  <c:v>16.583874002759568</c:v>
                </c:pt>
                <c:pt idx="60">
                  <c:v>16.603735470158139</c:v>
                </c:pt>
                <c:pt idx="61">
                  <c:v>16.622702431588909</c:v>
                </c:pt>
                <c:pt idx="62">
                  <c:v>16.640825807801967</c:v>
                </c:pt>
                <c:pt idx="63">
                  <c:v>16.658142294861808</c:v>
                </c:pt>
                <c:pt idx="64">
                  <c:v>16.674697576002661</c:v>
                </c:pt>
                <c:pt idx="65">
                  <c:v>16.690524727189139</c:v>
                </c:pt>
                <c:pt idx="66">
                  <c:v>16.705666740395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97-404B-814C-452B633D3DD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5.07670736074809</c:v>
                </c:pt>
                <c:pt idx="27">
                  <c:v>15.152822267898697</c:v>
                </c:pt>
                <c:pt idx="28">
                  <c:v>15.228039951965997</c:v>
                </c:pt>
                <c:pt idx="29">
                  <c:v>15.301609613934001</c:v>
                </c:pt>
                <c:pt idx="30">
                  <c:v>15.373990123353794</c:v>
                </c:pt>
                <c:pt idx="31">
                  <c:v>15.446171627168441</c:v>
                </c:pt>
                <c:pt idx="32">
                  <c:v>15.518084929852586</c:v>
                </c:pt>
                <c:pt idx="33">
                  <c:v>15.589433678926801</c:v>
                </c:pt>
                <c:pt idx="34">
                  <c:v>15.660194197895096</c:v>
                </c:pt>
                <c:pt idx="35">
                  <c:v>15.730164784335745</c:v>
                </c:pt>
                <c:pt idx="36">
                  <c:v>15.799033465694754</c:v>
                </c:pt>
                <c:pt idx="37">
                  <c:v>15.866878886851126</c:v>
                </c:pt>
                <c:pt idx="38">
                  <c:v>15.93357475995534</c:v>
                </c:pt>
                <c:pt idx="39">
                  <c:v>15.999023906124135</c:v>
                </c:pt>
                <c:pt idx="40">
                  <c:v>16.063020578586428</c:v>
                </c:pt>
                <c:pt idx="41">
                  <c:v>16.12546593346671</c:v>
                </c:pt>
                <c:pt idx="42">
                  <c:v>16.186283589565587</c:v>
                </c:pt>
                <c:pt idx="43">
                  <c:v>16.245487458145728</c:v>
                </c:pt>
                <c:pt idx="44">
                  <c:v>16.303181868146154</c:v>
                </c:pt>
                <c:pt idx="45">
                  <c:v>16.359456857193521</c:v>
                </c:pt>
                <c:pt idx="46">
                  <c:v>16.414288725916773</c:v>
                </c:pt>
                <c:pt idx="47">
                  <c:v>16.467673143096118</c:v>
                </c:pt>
                <c:pt idx="48">
                  <c:v>16.519671353718582</c:v>
                </c:pt>
                <c:pt idx="49">
                  <c:v>16.570303908420112</c:v>
                </c:pt>
                <c:pt idx="50">
                  <c:v>16.619550982769063</c:v>
                </c:pt>
                <c:pt idx="51">
                  <c:v>16.667478295308303</c:v>
                </c:pt>
                <c:pt idx="52">
                  <c:v>16.714149165585241</c:v>
                </c:pt>
                <c:pt idx="53">
                  <c:v>16.759589694714052</c:v>
                </c:pt>
                <c:pt idx="54">
                  <c:v>16.803817998422996</c:v>
                </c:pt>
                <c:pt idx="55">
                  <c:v>16.846883980005526</c:v>
                </c:pt>
                <c:pt idx="56">
                  <c:v>16.888812017699589</c:v>
                </c:pt>
                <c:pt idx="57">
                  <c:v>16.929633030410855</c:v>
                </c:pt>
                <c:pt idx="58">
                  <c:v>16.969372943567183</c:v>
                </c:pt>
                <c:pt idx="59">
                  <c:v>17.008069084619137</c:v>
                </c:pt>
                <c:pt idx="60">
                  <c:v>17.045746703001328</c:v>
                </c:pt>
                <c:pt idx="61">
                  <c:v>17.082441962231549</c:v>
                </c:pt>
                <c:pt idx="62">
                  <c:v>17.118179269715924</c:v>
                </c:pt>
                <c:pt idx="63">
                  <c:v>17.152987651277364</c:v>
                </c:pt>
                <c:pt idx="64">
                  <c:v>17.18689517143099</c:v>
                </c:pt>
                <c:pt idx="65">
                  <c:v>17.219923724543271</c:v>
                </c:pt>
                <c:pt idx="66">
                  <c:v>17.252099194774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97-404B-814C-452B633D3DD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5.077633704716702</c:v>
                </c:pt>
                <c:pt idx="27">
                  <c:v>15.15551383176898</c:v>
                </c:pt>
                <c:pt idx="28">
                  <c:v>15.233228575953595</c:v>
                </c:pt>
                <c:pt idx="29">
                  <c:v>15.309941324905555</c:v>
                </c:pt>
                <c:pt idx="30">
                  <c:v>15.386276114386762</c:v>
                </c:pt>
                <c:pt idx="31">
                  <c:v>15.463375038063463</c:v>
                </c:pt>
                <c:pt idx="32">
                  <c:v>15.541346547045583</c:v>
                </c:pt>
                <c:pt idx="33">
                  <c:v>15.620005105674636</c:v>
                </c:pt>
                <c:pt idx="34">
                  <c:v>15.699233301714793</c:v>
                </c:pt>
                <c:pt idx="35">
                  <c:v>15.778787250663736</c:v>
                </c:pt>
                <c:pt idx="36">
                  <c:v>15.858385850383334</c:v>
                </c:pt>
                <c:pt idx="37">
                  <c:v>15.938165013589114</c:v>
                </c:pt>
                <c:pt idx="38">
                  <c:v>16.018003324230104</c:v>
                </c:pt>
                <c:pt idx="39">
                  <c:v>16.097765659789829</c:v>
                </c:pt>
                <c:pt idx="40">
                  <c:v>16.177209570132554</c:v>
                </c:pt>
                <c:pt idx="41">
                  <c:v>16.256167589974993</c:v>
                </c:pt>
                <c:pt idx="42">
                  <c:v>16.33452595971271</c:v>
                </c:pt>
                <c:pt idx="43">
                  <c:v>16.412288462051638</c:v>
                </c:pt>
                <c:pt idx="44">
                  <c:v>16.489548234042648</c:v>
                </c:pt>
                <c:pt idx="45">
                  <c:v>16.566353714615687</c:v>
                </c:pt>
                <c:pt idx="46">
                  <c:v>16.642619674508119</c:v>
                </c:pt>
                <c:pt idx="47">
                  <c:v>16.718302063014164</c:v>
                </c:pt>
                <c:pt idx="48">
                  <c:v>16.793441489674041</c:v>
                </c:pt>
                <c:pt idx="49">
                  <c:v>16.868014797631304</c:v>
                </c:pt>
                <c:pt idx="50">
                  <c:v>16.941982869220158</c:v>
                </c:pt>
                <c:pt idx="51">
                  <c:v>17.015367375882423</c:v>
                </c:pt>
                <c:pt idx="52">
                  <c:v>17.088203863392625</c:v>
                </c:pt>
                <c:pt idx="53">
                  <c:v>17.160479940875511</c:v>
                </c:pt>
                <c:pt idx="54">
                  <c:v>17.232180749296568</c:v>
                </c:pt>
                <c:pt idx="55">
                  <c:v>17.303342814947769</c:v>
                </c:pt>
                <c:pt idx="56">
                  <c:v>17.373953499744811</c:v>
                </c:pt>
                <c:pt idx="57">
                  <c:v>17.444013334793127</c:v>
                </c:pt>
                <c:pt idx="58">
                  <c:v>17.513532614593601</c:v>
                </c:pt>
                <c:pt idx="59">
                  <c:v>17.582502541715545</c:v>
                </c:pt>
                <c:pt idx="60">
                  <c:v>17.650937071484556</c:v>
                </c:pt>
                <c:pt idx="61">
                  <c:v>17.718841650526379</c:v>
                </c:pt>
                <c:pt idx="62">
                  <c:v>17.786220752447445</c:v>
                </c:pt>
                <c:pt idx="63">
                  <c:v>17.853078126029498</c:v>
                </c:pt>
                <c:pt idx="64">
                  <c:v>17.919417514363268</c:v>
                </c:pt>
                <c:pt idx="65">
                  <c:v>17.985248330771068</c:v>
                </c:pt>
                <c:pt idx="66">
                  <c:v>18.0505686371046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97-404B-814C-452B633D3DD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5.079026756333626</c:v>
                </c:pt>
                <c:pt idx="27">
                  <c:v>15.159563016127445</c:v>
                </c:pt>
                <c:pt idx="28">
                  <c:v>15.241030403665357</c:v>
                </c:pt>
                <c:pt idx="29">
                  <c:v>15.322462122172503</c:v>
                </c:pt>
                <c:pt idx="30">
                  <c:v>15.404827841017587</c:v>
                </c:pt>
                <c:pt idx="31">
                  <c:v>15.489569908024139</c:v>
                </c:pt>
                <c:pt idx="32">
                  <c:v>15.577126624764233</c:v>
                </c:pt>
                <c:pt idx="33">
                  <c:v>15.667545887935267</c:v>
                </c:pt>
                <c:pt idx="34">
                  <c:v>15.760581975196461</c:v>
                </c:pt>
                <c:pt idx="35">
                  <c:v>15.85599483578013</c:v>
                </c:pt>
                <c:pt idx="36">
                  <c:v>15.953632824606512</c:v>
                </c:pt>
                <c:pt idx="37">
                  <c:v>16.053847318469586</c:v>
                </c:pt>
                <c:pt idx="38">
                  <c:v>16.156639818018245</c:v>
                </c:pt>
                <c:pt idx="39">
                  <c:v>16.26189055495783</c:v>
                </c:pt>
                <c:pt idx="40">
                  <c:v>16.369338560142598</c:v>
                </c:pt>
                <c:pt idx="41">
                  <c:v>16.47880397772159</c:v>
                </c:pt>
                <c:pt idx="42">
                  <c:v>16.590251006839082</c:v>
                </c:pt>
                <c:pt idx="43">
                  <c:v>16.703774380391533</c:v>
                </c:pt>
                <c:pt idx="44">
                  <c:v>16.819534174071826</c:v>
                </c:pt>
                <c:pt idx="45">
                  <c:v>16.937587748553316</c:v>
                </c:pt>
                <c:pt idx="46">
                  <c:v>17.057857226458204</c:v>
                </c:pt>
                <c:pt idx="47">
                  <c:v>17.180309548467555</c:v>
                </c:pt>
                <c:pt idx="48">
                  <c:v>17.30503944571516</c:v>
                </c:pt>
                <c:pt idx="49">
                  <c:v>17.432096787664157</c:v>
                </c:pt>
                <c:pt idx="50">
                  <c:v>17.561477927970309</c:v>
                </c:pt>
                <c:pt idx="51">
                  <c:v>17.693228618924799</c:v>
                </c:pt>
                <c:pt idx="52">
                  <c:v>17.827396222377391</c:v>
                </c:pt>
                <c:pt idx="53">
                  <c:v>17.964006788792972</c:v>
                </c:pt>
                <c:pt idx="54">
                  <c:v>18.10309787192362</c:v>
                </c:pt>
                <c:pt idx="55">
                  <c:v>18.244751380448104</c:v>
                </c:pt>
                <c:pt idx="56">
                  <c:v>18.388997147674147</c:v>
                </c:pt>
                <c:pt idx="57">
                  <c:v>18.535866697231807</c:v>
                </c:pt>
                <c:pt idx="58">
                  <c:v>18.685397547680626</c:v>
                </c:pt>
                <c:pt idx="59">
                  <c:v>18.837640614707247</c:v>
                </c:pt>
                <c:pt idx="60">
                  <c:v>18.992645655400583</c:v>
                </c:pt>
                <c:pt idx="61">
                  <c:v>19.150463979413097</c:v>
                </c:pt>
                <c:pt idx="62">
                  <c:v>19.311147464350292</c:v>
                </c:pt>
                <c:pt idx="63">
                  <c:v>19.474742220224108</c:v>
                </c:pt>
                <c:pt idx="64">
                  <c:v>19.641298368670562</c:v>
                </c:pt>
                <c:pt idx="65">
                  <c:v>19.810867787194034</c:v>
                </c:pt>
                <c:pt idx="66">
                  <c:v>19.983503149152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</c:v>
                </c:pt>
                <c:pt idx="1">
                  <c:v>20</c:v>
                </c:pt>
                <c:pt idx="2">
                  <c:v>30</c:v>
                </c:pt>
                <c:pt idx="3">
                  <c:v>37</c:v>
                </c:pt>
                <c:pt idx="4">
                  <c:v>41</c:v>
                </c:pt>
                <c:pt idx="5">
                  <c:v>55</c:v>
                </c:pt>
                <c:pt idx="6">
                  <c:v>73</c:v>
                </c:pt>
                <c:pt idx="7">
                  <c:v>80</c:v>
                </c:pt>
                <c:pt idx="8">
                  <c:v>86</c:v>
                </c:pt>
                <c:pt idx="9">
                  <c:v>100</c:v>
                </c:pt>
                <c:pt idx="10">
                  <c:v>105</c:v>
                </c:pt>
                <c:pt idx="11">
                  <c:v>120</c:v>
                </c:pt>
                <c:pt idx="12">
                  <c:v>126</c:v>
                </c:pt>
                <c:pt idx="13">
                  <c:v>137</c:v>
                </c:pt>
                <c:pt idx="14">
                  <c:v>144</c:v>
                </c:pt>
                <c:pt idx="15">
                  <c:v>156</c:v>
                </c:pt>
                <c:pt idx="16">
                  <c:v>162</c:v>
                </c:pt>
                <c:pt idx="17">
                  <c:v>166</c:v>
                </c:pt>
                <c:pt idx="18">
                  <c:v>175</c:v>
                </c:pt>
                <c:pt idx="19">
                  <c:v>186</c:v>
                </c:pt>
                <c:pt idx="20">
                  <c:v>193</c:v>
                </c:pt>
                <c:pt idx="21">
                  <c:v>197</c:v>
                </c:pt>
                <c:pt idx="22">
                  <c:v>202</c:v>
                </c:pt>
                <c:pt idx="23">
                  <c:v>205</c:v>
                </c:pt>
                <c:pt idx="24">
                  <c:v>209</c:v>
                </c:pt>
                <c:pt idx="25">
                  <c:v>215</c:v>
                </c:pt>
                <c:pt idx="26">
                  <c:v>221</c:v>
                </c:pt>
                <c:pt idx="27">
                  <c:v>228</c:v>
                </c:pt>
                <c:pt idx="28">
                  <c:v>237</c:v>
                </c:pt>
                <c:pt idx="29">
                  <c:v>245</c:v>
                </c:pt>
                <c:pt idx="30">
                  <c:v>248</c:v>
                </c:pt>
                <c:pt idx="31">
                  <c:v>253</c:v>
                </c:pt>
                <c:pt idx="32">
                  <c:v>259</c:v>
                </c:pt>
                <c:pt idx="33">
                  <c:v>264</c:v>
                </c:pt>
                <c:pt idx="34">
                  <c:v>270</c:v>
                </c:pt>
                <c:pt idx="35">
                  <c:v>273</c:v>
                </c:pt>
                <c:pt idx="36">
                  <c:v>277</c:v>
                </c:pt>
                <c:pt idx="37">
                  <c:v>282</c:v>
                </c:pt>
                <c:pt idx="38">
                  <c:v>286</c:v>
                </c:pt>
                <c:pt idx="39">
                  <c:v>288</c:v>
                </c:pt>
                <c:pt idx="40">
                  <c:v>288</c:v>
                </c:pt>
                <c:pt idx="41">
                  <c:v>292</c:v>
                </c:pt>
                <c:pt idx="42">
                  <c:v>296</c:v>
                </c:pt>
                <c:pt idx="43">
                  <c:v>298</c:v>
                </c:pt>
                <c:pt idx="44">
                  <c:v>299</c:v>
                </c:pt>
                <c:pt idx="45">
                  <c:v>302</c:v>
                </c:pt>
                <c:pt idx="46">
                  <c:v>303</c:v>
                </c:pt>
                <c:pt idx="47">
                  <c:v>305</c:v>
                </c:pt>
                <c:pt idx="48">
                  <c:v>306</c:v>
                </c:pt>
                <c:pt idx="49">
                  <c:v>306</c:v>
                </c:pt>
                <c:pt idx="50">
                  <c:v>309</c:v>
                </c:pt>
                <c:pt idx="51">
                  <c:v>309</c:v>
                </c:pt>
                <c:pt idx="52">
                  <c:v>310</c:v>
                </c:pt>
                <c:pt idx="53">
                  <c:v>311</c:v>
                </c:pt>
                <c:pt idx="54">
                  <c:v>313</c:v>
                </c:pt>
                <c:pt idx="55">
                  <c:v>315</c:v>
                </c:pt>
                <c:pt idx="56">
                  <c:v>315</c:v>
                </c:pt>
                <c:pt idx="57">
                  <c:v>315</c:v>
                </c:pt>
                <c:pt idx="58">
                  <c:v>316</c:v>
                </c:pt>
                <c:pt idx="59">
                  <c:v>318</c:v>
                </c:pt>
                <c:pt idx="60">
                  <c:v>321</c:v>
                </c:pt>
                <c:pt idx="61">
                  <c:v>321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20.20491573451272</c:v>
                </c:pt>
                <c:pt idx="27">
                  <c:v>225.27962322322276</c:v>
                </c:pt>
                <c:pt idx="28">
                  <c:v>230.23914249289396</c:v>
                </c:pt>
                <c:pt idx="29">
                  <c:v>235.05556484270625</c:v>
                </c:pt>
                <c:pt idx="30">
                  <c:v>239.7391531207499</c:v>
                </c:pt>
                <c:pt idx="31">
                  <c:v>244.3430587244226</c:v>
                </c:pt>
                <c:pt idx="32">
                  <c:v>248.84808600496089</c:v>
                </c:pt>
                <c:pt idx="33">
                  <c:v>253.23286718731086</c:v>
                </c:pt>
                <c:pt idx="34">
                  <c:v>257.49459968135375</c:v>
                </c:pt>
                <c:pt idx="35">
                  <c:v>261.63241989798223</c:v>
                </c:pt>
                <c:pt idx="36">
                  <c:v>265.6331993934964</c:v>
                </c:pt>
                <c:pt idx="37">
                  <c:v>269.49726279701684</c:v>
                </c:pt>
                <c:pt idx="38">
                  <c:v>273.22307197972458</c:v>
                </c:pt>
                <c:pt idx="39">
                  <c:v>276.80550558942605</c:v>
                </c:pt>
                <c:pt idx="40">
                  <c:v>280.23963816572268</c:v>
                </c:pt>
                <c:pt idx="41">
                  <c:v>283.52357226464056</c:v>
                </c:pt>
                <c:pt idx="42">
                  <c:v>286.65741964428918</c:v>
                </c:pt>
                <c:pt idx="43">
                  <c:v>289.6470984301414</c:v>
                </c:pt>
                <c:pt idx="44">
                  <c:v>292.49834233470955</c:v>
                </c:pt>
                <c:pt idx="45">
                  <c:v>295.22348446564433</c:v>
                </c:pt>
                <c:pt idx="46">
                  <c:v>297.82470205778702</c:v>
                </c:pt>
                <c:pt idx="47">
                  <c:v>300.30300261059921</c:v>
                </c:pt>
                <c:pt idx="48">
                  <c:v>302.66650861854981</c:v>
                </c:pt>
                <c:pt idx="49">
                  <c:v>304.92059627146625</c:v>
                </c:pt>
                <c:pt idx="50">
                  <c:v>307.06748092439341</c:v>
                </c:pt>
                <c:pt idx="51">
                  <c:v>309.11254088414529</c:v>
                </c:pt>
                <c:pt idx="52">
                  <c:v>311.06334682146809</c:v>
                </c:pt>
                <c:pt idx="53">
                  <c:v>312.92575986014128</c:v>
                </c:pt>
                <c:pt idx="54">
                  <c:v>314.70183498295899</c:v>
                </c:pt>
                <c:pt idx="55">
                  <c:v>316.3960530921546</c:v>
                </c:pt>
                <c:pt idx="56">
                  <c:v>318.01246401608722</c:v>
                </c:pt>
                <c:pt idx="57">
                  <c:v>319.55477930325435</c:v>
                </c:pt>
                <c:pt idx="58">
                  <c:v>321.02650491978079</c:v>
                </c:pt>
                <c:pt idx="59">
                  <c:v>322.4314544189466</c:v>
                </c:pt>
                <c:pt idx="60">
                  <c:v>323.7729536396148</c:v>
                </c:pt>
                <c:pt idx="61">
                  <c:v>325.05405574690724</c:v>
                </c:pt>
                <c:pt idx="62">
                  <c:v>326.27820325365576</c:v>
                </c:pt>
                <c:pt idx="63">
                  <c:v>327.44787944495584</c:v>
                </c:pt>
                <c:pt idx="64">
                  <c:v>328.56617367507056</c:v>
                </c:pt>
                <c:pt idx="65">
                  <c:v>329.63530532490569</c:v>
                </c:pt>
                <c:pt idx="66">
                  <c:v>330.658184137383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A15-47B2-8064-2B03AA43ECF7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20.26978739950928</c:v>
                </c:pt>
                <c:pt idx="27">
                  <c:v>225.46801063796386</c:v>
                </c:pt>
                <c:pt idx="28">
                  <c:v>230.60187089725986</c:v>
                </c:pt>
                <c:pt idx="29">
                  <c:v>235.63771227967254</c:v>
                </c:pt>
                <c:pt idx="30">
                  <c:v>240.5942607431553</c:v>
                </c:pt>
                <c:pt idx="31">
                  <c:v>245.53151309898038</c:v>
                </c:pt>
                <c:pt idx="32">
                  <c:v>250.4384947192346</c:v>
                </c:pt>
                <c:pt idx="33">
                  <c:v>255.29928422339708</c:v>
                </c:pt>
                <c:pt idx="34">
                  <c:v>260.10406011713644</c:v>
                </c:pt>
                <c:pt idx="35">
                  <c:v>264.8477372087961</c:v>
                </c:pt>
                <c:pt idx="36">
                  <c:v>269.51538913798646</c:v>
                </c:pt>
                <c:pt idx="37">
                  <c:v>274.10760340749505</c:v>
                </c:pt>
                <c:pt idx="38">
                  <c:v>278.62132816775306</c:v>
                </c:pt>
                <c:pt idx="39">
                  <c:v>283.04754106722135</c:v>
                </c:pt>
                <c:pt idx="40">
                  <c:v>287.3755208866329</c:v>
                </c:pt>
                <c:pt idx="41">
                  <c:v>291.59768682726957</c:v>
                </c:pt>
                <c:pt idx="42">
                  <c:v>295.71114504038553</c:v>
                </c:pt>
                <c:pt idx="43">
                  <c:v>299.71819246700773</c:v>
                </c:pt>
                <c:pt idx="44">
                  <c:v>303.62085176645974</c:v>
                </c:pt>
                <c:pt idx="45">
                  <c:v>307.42767245107365</c:v>
                </c:pt>
                <c:pt idx="46">
                  <c:v>311.13793822861032</c:v>
                </c:pt>
                <c:pt idx="47">
                  <c:v>314.74879819808541</c:v>
                </c:pt>
                <c:pt idx="48">
                  <c:v>318.26415425272359</c:v>
                </c:pt>
                <c:pt idx="49">
                  <c:v>321.6875958059436</c:v>
                </c:pt>
                <c:pt idx="50">
                  <c:v>325.0179223156963</c:v>
                </c:pt>
                <c:pt idx="51">
                  <c:v>328.25813829493245</c:v>
                </c:pt>
                <c:pt idx="52">
                  <c:v>331.41335291782769</c:v>
                </c:pt>
                <c:pt idx="53">
                  <c:v>334.48706083358036</c:v>
                </c:pt>
                <c:pt idx="54">
                  <c:v>337.47901515104047</c:v>
                </c:pt>
                <c:pt idx="55">
                  <c:v>340.39186015013473</c:v>
                </c:pt>
                <c:pt idx="56">
                  <c:v>343.22765233159134</c:v>
                </c:pt>
                <c:pt idx="57">
                  <c:v>345.98858960883854</c:v>
                </c:pt>
                <c:pt idx="58">
                  <c:v>348.67641390014842</c:v>
                </c:pt>
                <c:pt idx="59">
                  <c:v>351.29365328827095</c:v>
                </c:pt>
                <c:pt idx="60">
                  <c:v>353.8420210330159</c:v>
                </c:pt>
                <c:pt idx="61">
                  <c:v>356.32396757050276</c:v>
                </c:pt>
                <c:pt idx="62">
                  <c:v>358.74114527592189</c:v>
                </c:pt>
                <c:pt idx="63">
                  <c:v>361.09550412617335</c:v>
                </c:pt>
                <c:pt idx="64">
                  <c:v>363.38896043153431</c:v>
                </c:pt>
                <c:pt idx="65">
                  <c:v>365.62297659747145</c:v>
                </c:pt>
                <c:pt idx="66">
                  <c:v>367.79930132716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15-47B2-8064-2B03AA43ECF7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20.33416761249813</c:v>
                </c:pt>
                <c:pt idx="27">
                  <c:v>225.65573039205904</c:v>
                </c:pt>
                <c:pt idx="28">
                  <c:v>230.9637879168157</c:v>
                </c:pt>
                <c:pt idx="29">
                  <c:v>236.21890802744912</c:v>
                </c:pt>
                <c:pt idx="30">
                  <c:v>241.45122699360775</c:v>
                </c:pt>
                <c:pt idx="31">
                  <c:v>246.73061971776679</c:v>
                </c:pt>
                <c:pt idx="32">
                  <c:v>252.05734942181118</c:v>
                </c:pt>
                <c:pt idx="33">
                  <c:v>257.4229160446975</c:v>
                </c:pt>
                <c:pt idx="34">
                  <c:v>262.81083117186733</c:v>
                </c:pt>
                <c:pt idx="35">
                  <c:v>268.2124971754813</c:v>
                </c:pt>
                <c:pt idx="36">
                  <c:v>273.6152920095434</c:v>
                </c:pt>
                <c:pt idx="37">
                  <c:v>279.02421709300182</c:v>
                </c:pt>
                <c:pt idx="38">
                  <c:v>284.4362589042014</c:v>
                </c:pt>
                <c:pt idx="39">
                  <c:v>289.83988058200191</c:v>
                </c:pt>
                <c:pt idx="40">
                  <c:v>295.22155919902843</c:v>
                </c:pt>
                <c:pt idx="41">
                  <c:v>300.56937360832575</c:v>
                </c:pt>
                <c:pt idx="42">
                  <c:v>305.87795339818092</c:v>
                </c:pt>
                <c:pt idx="43">
                  <c:v>311.14898055884049</c:v>
                </c:pt>
                <c:pt idx="44">
                  <c:v>316.38375951159821</c:v>
                </c:pt>
                <c:pt idx="45">
                  <c:v>321.58778608857165</c:v>
                </c:pt>
                <c:pt idx="46">
                  <c:v>326.75617883186453</c:v>
                </c:pt>
                <c:pt idx="47">
                  <c:v>331.88337543508669</c:v>
                </c:pt>
                <c:pt idx="48">
                  <c:v>336.97198166192942</c:v>
                </c:pt>
                <c:pt idx="49">
                  <c:v>342.02262314967049</c:v>
                </c:pt>
                <c:pt idx="50">
                  <c:v>347.03284778131615</c:v>
                </c:pt>
                <c:pt idx="51">
                  <c:v>352.00268788161611</c:v>
                </c:pt>
                <c:pt idx="52">
                  <c:v>356.93530636713479</c:v>
                </c:pt>
                <c:pt idx="53">
                  <c:v>361.83160606571766</c:v>
                </c:pt>
                <c:pt idx="54">
                  <c:v>366.68919973950824</c:v>
                </c:pt>
                <c:pt idx="55">
                  <c:v>371.50986146938578</c:v>
                </c:pt>
                <c:pt idx="56">
                  <c:v>376.29306956321636</c:v>
                </c:pt>
                <c:pt idx="57">
                  <c:v>381.03893018026929</c:v>
                </c:pt>
                <c:pt idx="58">
                  <c:v>385.74817955679077</c:v>
                </c:pt>
                <c:pt idx="59">
                  <c:v>390.42021163429877</c:v>
                </c:pt>
                <c:pt idx="60">
                  <c:v>395.05598687587928</c:v>
                </c:pt>
                <c:pt idx="61">
                  <c:v>399.65589167408024</c:v>
                </c:pt>
                <c:pt idx="62">
                  <c:v>404.22019618988861</c:v>
                </c:pt>
                <c:pt idx="63">
                  <c:v>408.74914796725676</c:v>
                </c:pt>
                <c:pt idx="64">
                  <c:v>413.24300120201337</c:v>
                </c:pt>
                <c:pt idx="65">
                  <c:v>417.70242243740699</c:v>
                </c:pt>
                <c:pt idx="66">
                  <c:v>422.127270594693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A15-47B2-8064-2B03AA43ECF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20.43098365798582</c:v>
                </c:pt>
                <c:pt idx="27">
                  <c:v>225.93813530553274</c:v>
                </c:pt>
                <c:pt idx="28">
                  <c:v>231.50798252520411</c:v>
                </c:pt>
                <c:pt idx="29">
                  <c:v>237.09232270884149</c:v>
                </c:pt>
                <c:pt idx="30">
                  <c:v>242.74521339498165</c:v>
                </c:pt>
                <c:pt idx="31">
                  <c:v>248.55643965938086</c:v>
                </c:pt>
                <c:pt idx="32">
                  <c:v>254.54750876930794</c:v>
                </c:pt>
                <c:pt idx="33">
                  <c:v>260.72574532673104</c:v>
                </c:pt>
                <c:pt idx="34">
                  <c:v>267.06553833975511</c:v>
                </c:pt>
                <c:pt idx="35">
                  <c:v>273.55757474287287</c:v>
                </c:pt>
                <c:pt idx="36">
                  <c:v>280.19833314478404</c:v>
                </c:pt>
                <c:pt idx="37">
                  <c:v>287.00825402172956</c:v>
                </c:pt>
                <c:pt idx="38">
                  <c:v>293.99224164374732</c:v>
                </c:pt>
                <c:pt idx="39">
                  <c:v>301.13979681054764</c:v>
                </c:pt>
                <c:pt idx="40">
                  <c:v>308.43557802379712</c:v>
                </c:pt>
                <c:pt idx="41">
                  <c:v>315.86731483670877</c:v>
                </c:pt>
                <c:pt idx="42">
                  <c:v>323.43508757322684</c:v>
                </c:pt>
                <c:pt idx="43">
                  <c:v>331.14687457818593</c:v>
                </c:pt>
                <c:pt idx="44">
                  <c:v>339.00848129547131</c:v>
                </c:pt>
                <c:pt idx="45">
                  <c:v>347.0256250998753</c:v>
                </c:pt>
                <c:pt idx="46">
                  <c:v>355.19398809676318</c:v>
                </c:pt>
                <c:pt idx="47">
                  <c:v>363.50867857536775</c:v>
                </c:pt>
                <c:pt idx="48">
                  <c:v>371.97611282304007</c:v>
                </c:pt>
                <c:pt idx="49">
                  <c:v>380.60194784959174</c:v>
                </c:pt>
                <c:pt idx="50">
                  <c:v>389.38619403120691</c:v>
                </c:pt>
                <c:pt idx="51">
                  <c:v>398.33043757847378</c:v>
                </c:pt>
                <c:pt idx="52">
                  <c:v>407.43851972422783</c:v>
                </c:pt>
                <c:pt idx="53">
                  <c:v>416.71402161595131</c:v>
                </c:pt>
                <c:pt idx="54">
                  <c:v>426.15830434889529</c:v>
                </c:pt>
                <c:pt idx="55">
                  <c:v>435.77619329100196</c:v>
                </c:pt>
                <c:pt idx="56">
                  <c:v>445.56993078265305</c:v>
                </c:pt>
                <c:pt idx="57">
                  <c:v>455.54171417065595</c:v>
                </c:pt>
                <c:pt idx="58">
                  <c:v>465.69412977963736</c:v>
                </c:pt>
                <c:pt idx="59">
                  <c:v>476.03069021954462</c:v>
                </c:pt>
                <c:pt idx="60">
                  <c:v>486.55481078319832</c:v>
                </c:pt>
                <c:pt idx="61">
                  <c:v>497.26998194992962</c:v>
                </c:pt>
                <c:pt idx="62">
                  <c:v>508.17966907757864</c:v>
                </c:pt>
                <c:pt idx="63">
                  <c:v>519.28696139518888</c:v>
                </c:pt>
                <c:pt idx="64">
                  <c:v>530.59528528169199</c:v>
                </c:pt>
                <c:pt idx="65">
                  <c:v>542.10819875509844</c:v>
                </c:pt>
                <c:pt idx="66">
                  <c:v>553.829293088583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</c:v>
                </c:pt>
                <c:pt idx="1">
                  <c:v>13</c:v>
                </c:pt>
                <c:pt idx="2">
                  <c:v>19</c:v>
                </c:pt>
                <c:pt idx="3">
                  <c:v>31</c:v>
                </c:pt>
                <c:pt idx="4">
                  <c:v>35</c:v>
                </c:pt>
                <c:pt idx="5">
                  <c:v>41</c:v>
                </c:pt>
                <c:pt idx="6">
                  <c:v>52</c:v>
                </c:pt>
                <c:pt idx="7">
                  <c:v>55</c:v>
                </c:pt>
                <c:pt idx="8">
                  <c:v>63</c:v>
                </c:pt>
                <c:pt idx="9">
                  <c:v>68</c:v>
                </c:pt>
                <c:pt idx="10">
                  <c:v>72</c:v>
                </c:pt>
                <c:pt idx="11">
                  <c:v>74</c:v>
                </c:pt>
                <c:pt idx="12">
                  <c:v>77</c:v>
                </c:pt>
                <c:pt idx="13">
                  <c:v>79</c:v>
                </c:pt>
                <c:pt idx="14">
                  <c:v>83</c:v>
                </c:pt>
                <c:pt idx="15">
                  <c:v>89</c:v>
                </c:pt>
                <c:pt idx="16">
                  <c:v>91</c:v>
                </c:pt>
                <c:pt idx="17">
                  <c:v>92</c:v>
                </c:pt>
                <c:pt idx="18">
                  <c:v>97</c:v>
                </c:pt>
                <c:pt idx="19">
                  <c:v>100</c:v>
                </c:pt>
                <c:pt idx="20">
                  <c:v>106</c:v>
                </c:pt>
                <c:pt idx="21">
                  <c:v>108</c:v>
                </c:pt>
                <c:pt idx="22">
                  <c:v>110</c:v>
                </c:pt>
                <c:pt idx="23">
                  <c:v>110</c:v>
                </c:pt>
                <c:pt idx="24">
                  <c:v>112</c:v>
                </c:pt>
                <c:pt idx="25">
                  <c:v>113</c:v>
                </c:pt>
                <c:pt idx="26">
                  <c:v>116</c:v>
                </c:pt>
                <c:pt idx="27">
                  <c:v>122</c:v>
                </c:pt>
                <c:pt idx="28">
                  <c:v>122</c:v>
                </c:pt>
                <c:pt idx="29">
                  <c:v>124</c:v>
                </c:pt>
                <c:pt idx="30">
                  <c:v>126</c:v>
                </c:pt>
                <c:pt idx="31">
                  <c:v>129</c:v>
                </c:pt>
                <c:pt idx="32">
                  <c:v>132</c:v>
                </c:pt>
                <c:pt idx="33">
                  <c:v>136</c:v>
                </c:pt>
                <c:pt idx="34">
                  <c:v>136</c:v>
                </c:pt>
                <c:pt idx="35">
                  <c:v>138</c:v>
                </c:pt>
                <c:pt idx="36">
                  <c:v>140</c:v>
                </c:pt>
                <c:pt idx="37">
                  <c:v>142</c:v>
                </c:pt>
                <c:pt idx="38">
                  <c:v>144</c:v>
                </c:pt>
                <c:pt idx="39">
                  <c:v>147</c:v>
                </c:pt>
                <c:pt idx="40">
                  <c:v>152</c:v>
                </c:pt>
                <c:pt idx="41">
                  <c:v>153</c:v>
                </c:pt>
                <c:pt idx="42">
                  <c:v>153</c:v>
                </c:pt>
                <c:pt idx="43">
                  <c:v>155</c:v>
                </c:pt>
                <c:pt idx="44">
                  <c:v>155</c:v>
                </c:pt>
                <c:pt idx="45">
                  <c:v>155</c:v>
                </c:pt>
                <c:pt idx="46">
                  <c:v>157</c:v>
                </c:pt>
                <c:pt idx="47">
                  <c:v>158</c:v>
                </c:pt>
                <c:pt idx="48">
                  <c:v>159</c:v>
                </c:pt>
                <c:pt idx="49">
                  <c:v>159</c:v>
                </c:pt>
                <c:pt idx="50">
                  <c:v>161</c:v>
                </c:pt>
                <c:pt idx="51">
                  <c:v>163</c:v>
                </c:pt>
                <c:pt idx="52">
                  <c:v>163</c:v>
                </c:pt>
                <c:pt idx="53">
                  <c:v>164</c:v>
                </c:pt>
                <c:pt idx="54">
                  <c:v>164</c:v>
                </c:pt>
                <c:pt idx="55">
                  <c:v>165</c:v>
                </c:pt>
                <c:pt idx="56">
                  <c:v>165</c:v>
                </c:pt>
                <c:pt idx="57">
                  <c:v>167</c:v>
                </c:pt>
                <c:pt idx="58">
                  <c:v>167</c:v>
                </c:pt>
                <c:pt idx="59">
                  <c:v>167</c:v>
                </c:pt>
                <c:pt idx="60">
                  <c:v>168</c:v>
                </c:pt>
                <c:pt idx="61">
                  <c:v>168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14.79208944224784</c:v>
                </c:pt>
                <c:pt idx="27">
                  <c:v>116.54025772373748</c:v>
                </c:pt>
                <c:pt idx="28">
                  <c:v>118.24885951530304</c:v>
                </c:pt>
                <c:pt idx="29">
                  <c:v>119.90778285734777</c:v>
                </c:pt>
                <c:pt idx="30">
                  <c:v>121.52092370532995</c:v>
                </c:pt>
                <c:pt idx="31">
                  <c:v>123.10679130129468</c:v>
                </c:pt>
                <c:pt idx="32">
                  <c:v>124.65892401130701</c:v>
                </c:pt>
                <c:pt idx="33">
                  <c:v>126.16983318424565</c:v>
                </c:pt>
                <c:pt idx="34">
                  <c:v>127.63877895359111</c:v>
                </c:pt>
                <c:pt idx="35">
                  <c:v>129.06519967981779</c:v>
                </c:pt>
                <c:pt idx="36">
                  <c:v>130.4443977188651</c:v>
                </c:pt>
                <c:pt idx="37">
                  <c:v>131.77663549802659</c:v>
                </c:pt>
                <c:pt idx="38">
                  <c:v>133.06121871396437</c:v>
                </c:pt>
                <c:pt idx="39">
                  <c:v>134.2964560375874</c:v>
                </c:pt>
                <c:pt idx="40">
                  <c:v>135.48054753182856</c:v>
                </c:pt>
                <c:pt idx="41">
                  <c:v>136.61287365363032</c:v>
                </c:pt>
                <c:pt idx="42">
                  <c:v>137.69341158656744</c:v>
                </c:pt>
                <c:pt idx="43">
                  <c:v>138.72416387867759</c:v>
                </c:pt>
                <c:pt idx="44">
                  <c:v>139.70725141053492</c:v>
                </c:pt>
                <c:pt idx="45">
                  <c:v>140.64685011228784</c:v>
                </c:pt>
                <c:pt idx="46">
                  <c:v>141.54368811044074</c:v>
                </c:pt>
                <c:pt idx="47">
                  <c:v>142.39818466916805</c:v>
                </c:pt>
                <c:pt idx="48">
                  <c:v>143.21314716883992</c:v>
                </c:pt>
                <c:pt idx="49">
                  <c:v>143.99036832994921</c:v>
                </c:pt>
                <c:pt idx="50">
                  <c:v>144.73061029729541</c:v>
                </c:pt>
                <c:pt idx="51">
                  <c:v>145.43576790679984</c:v>
                </c:pt>
                <c:pt idx="52">
                  <c:v>146.10842598666838</c:v>
                </c:pt>
                <c:pt idx="53">
                  <c:v>146.75055648667222</c:v>
                </c:pt>
                <c:pt idx="54">
                  <c:v>147.36291283969922</c:v>
                </c:pt>
                <c:pt idx="55">
                  <c:v>147.94706028670325</c:v>
                </c:pt>
                <c:pt idx="56">
                  <c:v>148.50438193153553</c:v>
                </c:pt>
                <c:pt idx="57">
                  <c:v>149.03615494831681</c:v>
                </c:pt>
                <c:pt idx="58">
                  <c:v>149.54358860453056</c:v>
                </c:pt>
                <c:pt idx="59">
                  <c:v>150.02799800568607</c:v>
                </c:pt>
                <c:pt idx="60">
                  <c:v>150.49052985410043</c:v>
                </c:pt>
                <c:pt idx="61">
                  <c:v>150.93223696248532</c:v>
                </c:pt>
                <c:pt idx="62">
                  <c:v>151.35430617393121</c:v>
                </c:pt>
                <c:pt idx="63">
                  <c:v>151.75759355753218</c:v>
                </c:pt>
                <c:pt idx="64">
                  <c:v>152.14316417461083</c:v>
                </c:pt>
                <c:pt idx="65">
                  <c:v>152.51178366098213</c:v>
                </c:pt>
                <c:pt idx="66">
                  <c:v>152.864455088055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A7-464E-9E50-188664B8CF1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14.81440386450512</c:v>
                </c:pt>
                <c:pt idx="27">
                  <c:v>116.60504031302771</c:v>
                </c:pt>
                <c:pt idx="28">
                  <c:v>118.3735933821183</c:v>
                </c:pt>
                <c:pt idx="29">
                  <c:v>120.10796861858911</c:v>
                </c:pt>
                <c:pt idx="30">
                  <c:v>121.81497517565433</c:v>
                </c:pt>
                <c:pt idx="31">
                  <c:v>123.51549700070453</c:v>
                </c:pt>
                <c:pt idx="32">
                  <c:v>125.20593133165738</c:v>
                </c:pt>
                <c:pt idx="33">
                  <c:v>126.88067094713429</c:v>
                </c:pt>
                <c:pt idx="34">
                  <c:v>128.53656590871836</c:v>
                </c:pt>
                <c:pt idx="35">
                  <c:v>130.17161743336897</c:v>
                </c:pt>
                <c:pt idx="36">
                  <c:v>131.78050243218286</c:v>
                </c:pt>
                <c:pt idx="37">
                  <c:v>133.36355929271642</c:v>
                </c:pt>
                <c:pt idx="38">
                  <c:v>134.91957828657738</c:v>
                </c:pt>
                <c:pt idx="39">
                  <c:v>136.44551930593522</c:v>
                </c:pt>
                <c:pt idx="40">
                  <c:v>137.93759451692998</c:v>
                </c:pt>
                <c:pt idx="41">
                  <c:v>139.39321616369901</c:v>
                </c:pt>
                <c:pt idx="42">
                  <c:v>140.81132136199841</c:v>
                </c:pt>
                <c:pt idx="43">
                  <c:v>142.19266304509205</c:v>
                </c:pt>
                <c:pt idx="44">
                  <c:v>143.53808303808006</c:v>
                </c:pt>
                <c:pt idx="45">
                  <c:v>144.8504581466978</c:v>
                </c:pt>
                <c:pt idx="46">
                  <c:v>146.12951597556275</c:v>
                </c:pt>
                <c:pt idx="47">
                  <c:v>147.37434712191649</c:v>
                </c:pt>
                <c:pt idx="48">
                  <c:v>148.58630365823882</c:v>
                </c:pt>
                <c:pt idx="49">
                  <c:v>149.76655988033571</c:v>
                </c:pt>
                <c:pt idx="50">
                  <c:v>150.91469787606093</c:v>
                </c:pt>
                <c:pt idx="51">
                  <c:v>152.03179479872199</c:v>
                </c:pt>
                <c:pt idx="52">
                  <c:v>153.11958829556784</c:v>
                </c:pt>
                <c:pt idx="53">
                  <c:v>154.17923349138601</c:v>
                </c:pt>
                <c:pt idx="54">
                  <c:v>155.21068753681058</c:v>
                </c:pt>
                <c:pt idx="55">
                  <c:v>156.21488302749043</c:v>
                </c:pt>
                <c:pt idx="56">
                  <c:v>157.1925172335045</c:v>
                </c:pt>
                <c:pt idx="57">
                  <c:v>158.14434481750624</c:v>
                </c:pt>
                <c:pt idx="58">
                  <c:v>159.07096663401779</c:v>
                </c:pt>
                <c:pt idx="59">
                  <c:v>159.97325413592313</c:v>
                </c:pt>
                <c:pt idx="60">
                  <c:v>160.85179780792899</c:v>
                </c:pt>
                <c:pt idx="61">
                  <c:v>161.70744230350161</c:v>
                </c:pt>
                <c:pt idx="62">
                  <c:v>162.5407572304394</c:v>
                </c:pt>
                <c:pt idx="63">
                  <c:v>163.35241521806353</c:v>
                </c:pt>
                <c:pt idx="64">
                  <c:v>164.14307638908124</c:v>
                </c:pt>
                <c:pt idx="65">
                  <c:v>164.91324543380927</c:v>
                </c:pt>
                <c:pt idx="66">
                  <c:v>165.663525270922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A7-464E-9E50-188664B8CF1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14.83654923810889</c:v>
                </c:pt>
                <c:pt idx="27">
                  <c:v>116.6695933821361</c:v>
                </c:pt>
                <c:pt idx="28">
                  <c:v>118.49804821160792</c:v>
                </c:pt>
                <c:pt idx="29">
                  <c:v>120.30782712228873</c:v>
                </c:pt>
                <c:pt idx="30">
                  <c:v>122.10966608016165</c:v>
                </c:pt>
                <c:pt idx="31">
                  <c:v>123.92786593597405</c:v>
                </c:pt>
                <c:pt idx="32">
                  <c:v>125.76272047073167</c:v>
                </c:pt>
                <c:pt idx="33">
                  <c:v>127.6111830668119</c:v>
                </c:pt>
                <c:pt idx="34">
                  <c:v>129.46781476912437</c:v>
                </c:pt>
                <c:pt idx="35">
                  <c:v>131.32942482207775</c:v>
                </c:pt>
                <c:pt idx="36">
                  <c:v>133.19147833198372</c:v>
                </c:pt>
                <c:pt idx="37">
                  <c:v>135.05581985452187</c:v>
                </c:pt>
                <c:pt idx="38">
                  <c:v>136.92126123454193</c:v>
                </c:pt>
                <c:pt idx="39">
                  <c:v>138.78389400443839</c:v>
                </c:pt>
                <c:pt idx="40">
                  <c:v>140.63897361339374</c:v>
                </c:pt>
                <c:pt idx="41">
                  <c:v>142.48240734102609</c:v>
                </c:pt>
                <c:pt idx="42">
                  <c:v>144.31227703345843</c:v>
                </c:pt>
                <c:pt idx="43">
                  <c:v>146.12912160842879</c:v>
                </c:pt>
                <c:pt idx="44">
                  <c:v>147.93353416804075</c:v>
                </c:pt>
                <c:pt idx="45">
                  <c:v>149.72734566250514</c:v>
                </c:pt>
                <c:pt idx="46">
                  <c:v>151.50884786670173</c:v>
                </c:pt>
                <c:pt idx="47">
                  <c:v>153.27619734319956</c:v>
                </c:pt>
                <c:pt idx="48">
                  <c:v>155.03029646823154</c:v>
                </c:pt>
                <c:pt idx="49">
                  <c:v>156.77129800024909</c:v>
                </c:pt>
                <c:pt idx="50">
                  <c:v>158.49835101813119</c:v>
                </c:pt>
                <c:pt idx="51">
                  <c:v>160.21150781984218</c:v>
                </c:pt>
                <c:pt idx="52">
                  <c:v>161.91183703000627</c:v>
                </c:pt>
                <c:pt idx="53">
                  <c:v>163.59959991539387</c:v>
                </c:pt>
                <c:pt idx="54">
                  <c:v>165.27401316512959</c:v>
                </c:pt>
                <c:pt idx="55">
                  <c:v>166.93570838334438</c:v>
                </c:pt>
                <c:pt idx="56">
                  <c:v>168.58449615470334</c:v>
                </c:pt>
                <c:pt idx="57">
                  <c:v>170.22041106085476</c:v>
                </c:pt>
                <c:pt idx="58">
                  <c:v>171.84370577034284</c:v>
                </c:pt>
                <c:pt idx="59">
                  <c:v>173.4541716627559</c:v>
                </c:pt>
                <c:pt idx="60">
                  <c:v>175.05213937945783</c:v>
                </c:pt>
                <c:pt idx="61">
                  <c:v>176.63774161146259</c:v>
                </c:pt>
                <c:pt idx="62">
                  <c:v>178.21107242679278</c:v>
                </c:pt>
                <c:pt idx="63">
                  <c:v>179.77221733815259</c:v>
                </c:pt>
                <c:pt idx="64">
                  <c:v>181.32126394943919</c:v>
                </c:pt>
                <c:pt idx="65">
                  <c:v>182.85844119248597</c:v>
                </c:pt>
                <c:pt idx="66">
                  <c:v>184.383700717543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A7-464E-9E50-188664B8CF1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14.86985182284147</c:v>
                </c:pt>
                <c:pt idx="27">
                  <c:v>116.7667067945432</c:v>
                </c:pt>
                <c:pt idx="28">
                  <c:v>118.68518401901375</c:v>
                </c:pt>
                <c:pt idx="29">
                  <c:v>120.60817230402544</c:v>
                </c:pt>
                <c:pt idx="30">
                  <c:v>122.55463879881765</c:v>
                </c:pt>
                <c:pt idx="31">
                  <c:v>124.55575976092038</c:v>
                </c:pt>
                <c:pt idx="32">
                  <c:v>126.61918340285334</c:v>
                </c:pt>
                <c:pt idx="33">
                  <c:v>128.74731758219025</c:v>
                </c:pt>
                <c:pt idx="34">
                  <c:v>130.93159110952578</c:v>
                </c:pt>
                <c:pt idx="35">
                  <c:v>133.16859456840552</c:v>
                </c:pt>
                <c:pt idx="36">
                  <c:v>135.45692059825572</c:v>
                </c:pt>
                <c:pt idx="37">
                  <c:v>137.8037114727635</c:v>
                </c:pt>
                <c:pt idx="38">
                  <c:v>140.2105200403235</c:v>
                </c:pt>
                <c:pt idx="39">
                  <c:v>142.67379558851101</c:v>
                </c:pt>
                <c:pt idx="40">
                  <c:v>145.18818286880398</c:v>
                </c:pt>
                <c:pt idx="41">
                  <c:v>147.74945470859217</c:v>
                </c:pt>
                <c:pt idx="42">
                  <c:v>150.35756697431583</c:v>
                </c:pt>
                <c:pt idx="43">
                  <c:v>153.01522507861463</c:v>
                </c:pt>
                <c:pt idx="44">
                  <c:v>155.7245745996359</c:v>
                </c:pt>
                <c:pt idx="45">
                  <c:v>158.48753382789039</c:v>
                </c:pt>
                <c:pt idx="46">
                  <c:v>161.30258692158066</c:v>
                </c:pt>
                <c:pt idx="47">
                  <c:v>164.16812372013578</c:v>
                </c:pt>
                <c:pt idx="48">
                  <c:v>167.08635596366238</c:v>
                </c:pt>
                <c:pt idx="49">
                  <c:v>170.0591683184484</c:v>
                </c:pt>
                <c:pt idx="50">
                  <c:v>173.08655698320115</c:v>
                </c:pt>
                <c:pt idx="51">
                  <c:v>176.16911210321598</c:v>
                </c:pt>
                <c:pt idx="52">
                  <c:v>179.30813962139291</c:v>
                </c:pt>
                <c:pt idx="53">
                  <c:v>182.50482190088923</c:v>
                </c:pt>
                <c:pt idx="54">
                  <c:v>185.75966202193968</c:v>
                </c:pt>
                <c:pt idx="55">
                  <c:v>189.07434403513335</c:v>
                </c:pt>
                <c:pt idx="56">
                  <c:v>192.44963453567743</c:v>
                </c:pt>
                <c:pt idx="57">
                  <c:v>195.88628918142001</c:v>
                </c:pt>
                <c:pt idx="58">
                  <c:v>199.38519820297591</c:v>
                </c:pt>
                <c:pt idx="59">
                  <c:v>202.94757058693699</c:v>
                </c:pt>
                <c:pt idx="60">
                  <c:v>206.57458231421788</c:v>
                </c:pt>
                <c:pt idx="61">
                  <c:v>210.26743614231293</c:v>
                </c:pt>
                <c:pt idx="62">
                  <c:v>214.02732799224202</c:v>
                </c:pt>
                <c:pt idx="63">
                  <c:v>217.85532371448073</c:v>
                </c:pt>
                <c:pt idx="64">
                  <c:v>221.75260350145948</c:v>
                </c:pt>
                <c:pt idx="65">
                  <c:v>225.72039255811231</c:v>
                </c:pt>
                <c:pt idx="66">
                  <c:v>229.759928144666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0</c:v>
                </c:pt>
                <c:pt idx="2">
                  <c:v>17</c:v>
                </c:pt>
                <c:pt idx="3">
                  <c:v>22</c:v>
                </c:pt>
                <c:pt idx="4">
                  <c:v>29</c:v>
                </c:pt>
                <c:pt idx="5">
                  <c:v>36</c:v>
                </c:pt>
                <c:pt idx="6">
                  <c:v>40</c:v>
                </c:pt>
                <c:pt idx="7">
                  <c:v>45</c:v>
                </c:pt>
                <c:pt idx="8">
                  <c:v>48</c:v>
                </c:pt>
                <c:pt idx="9">
                  <c:v>50</c:v>
                </c:pt>
                <c:pt idx="10">
                  <c:v>51</c:v>
                </c:pt>
                <c:pt idx="11">
                  <c:v>53</c:v>
                </c:pt>
                <c:pt idx="12">
                  <c:v>56</c:v>
                </c:pt>
                <c:pt idx="13">
                  <c:v>57</c:v>
                </c:pt>
                <c:pt idx="14">
                  <c:v>60</c:v>
                </c:pt>
                <c:pt idx="15">
                  <c:v>63</c:v>
                </c:pt>
                <c:pt idx="16">
                  <c:v>67</c:v>
                </c:pt>
                <c:pt idx="17">
                  <c:v>68</c:v>
                </c:pt>
                <c:pt idx="18">
                  <c:v>72</c:v>
                </c:pt>
                <c:pt idx="19">
                  <c:v>73</c:v>
                </c:pt>
                <c:pt idx="20">
                  <c:v>75</c:v>
                </c:pt>
                <c:pt idx="21">
                  <c:v>75</c:v>
                </c:pt>
                <c:pt idx="22">
                  <c:v>76</c:v>
                </c:pt>
                <c:pt idx="23">
                  <c:v>77</c:v>
                </c:pt>
                <c:pt idx="24">
                  <c:v>79</c:v>
                </c:pt>
                <c:pt idx="25">
                  <c:v>81</c:v>
                </c:pt>
                <c:pt idx="26">
                  <c:v>82</c:v>
                </c:pt>
                <c:pt idx="27">
                  <c:v>83</c:v>
                </c:pt>
                <c:pt idx="28">
                  <c:v>84</c:v>
                </c:pt>
                <c:pt idx="29">
                  <c:v>86</c:v>
                </c:pt>
                <c:pt idx="30">
                  <c:v>86</c:v>
                </c:pt>
                <c:pt idx="31">
                  <c:v>87</c:v>
                </c:pt>
                <c:pt idx="32">
                  <c:v>88</c:v>
                </c:pt>
                <c:pt idx="33">
                  <c:v>88</c:v>
                </c:pt>
                <c:pt idx="34">
                  <c:v>89</c:v>
                </c:pt>
                <c:pt idx="35">
                  <c:v>89</c:v>
                </c:pt>
                <c:pt idx="36">
                  <c:v>90</c:v>
                </c:pt>
                <c:pt idx="37">
                  <c:v>90</c:v>
                </c:pt>
                <c:pt idx="38">
                  <c:v>90</c:v>
                </c:pt>
                <c:pt idx="39">
                  <c:v>91</c:v>
                </c:pt>
                <c:pt idx="40">
                  <c:v>94</c:v>
                </c:pt>
                <c:pt idx="41">
                  <c:v>95</c:v>
                </c:pt>
                <c:pt idx="42">
                  <c:v>96</c:v>
                </c:pt>
                <c:pt idx="43">
                  <c:v>99</c:v>
                </c:pt>
                <c:pt idx="44">
                  <c:v>99</c:v>
                </c:pt>
                <c:pt idx="45">
                  <c:v>99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2</c:v>
                </c:pt>
                <c:pt idx="54">
                  <c:v>102</c:v>
                </c:pt>
                <c:pt idx="55">
                  <c:v>102</c:v>
                </c:pt>
                <c:pt idx="56">
                  <c:v>102</c:v>
                </c:pt>
                <c:pt idx="57">
                  <c:v>102</c:v>
                </c:pt>
                <c:pt idx="58">
                  <c:v>102</c:v>
                </c:pt>
                <c:pt idx="59">
                  <c:v>102</c:v>
                </c:pt>
                <c:pt idx="60">
                  <c:v>102</c:v>
                </c:pt>
                <c:pt idx="61">
                  <c:v>102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82.541127467776121</c:v>
                </c:pt>
                <c:pt idx="27">
                  <c:v>84.043970560921167</c:v>
                </c:pt>
                <c:pt idx="28">
                  <c:v>85.512735159012266</c:v>
                </c:pt>
                <c:pt idx="29">
                  <c:v>86.939009153993069</c:v>
                </c:pt>
                <c:pt idx="30">
                  <c:v>88.325938381720974</c:v>
                </c:pt>
                <c:pt idx="31">
                  <c:v>89.689322201484998</c:v>
                </c:pt>
                <c:pt idx="32">
                  <c:v>91.023520571107426</c:v>
                </c:pt>
                <c:pt idx="33">
                  <c:v>92.322167803404255</c:v>
                </c:pt>
                <c:pt idx="34">
                  <c:v>93.584500600474215</c:v>
                </c:pt>
                <c:pt idx="35">
                  <c:v>94.810185148703823</c:v>
                </c:pt>
                <c:pt idx="36">
                  <c:v>95.995281799048485</c:v>
                </c:pt>
                <c:pt idx="37">
                  <c:v>97.139931196812739</c:v>
                </c:pt>
                <c:pt idx="38">
                  <c:v>98.243629235409628</c:v>
                </c:pt>
                <c:pt idx="39">
                  <c:v>99.304880805815117</c:v>
                </c:pt>
                <c:pt idx="40">
                  <c:v>100.32219676833269</c:v>
                </c:pt>
                <c:pt idx="41">
                  <c:v>101.29502528509215</c:v>
                </c:pt>
                <c:pt idx="42">
                  <c:v>102.22338133095265</c:v>
                </c:pt>
                <c:pt idx="43">
                  <c:v>103.10900683315892</c:v>
                </c:pt>
                <c:pt idx="44">
                  <c:v>103.95364285439315</c:v>
                </c:pt>
                <c:pt idx="45">
                  <c:v>104.76092029371637</c:v>
                </c:pt>
                <c:pt idx="46">
                  <c:v>105.53147745277714</c:v>
                </c:pt>
                <c:pt idx="47">
                  <c:v>106.26563403302846</c:v>
                </c:pt>
                <c:pt idx="48">
                  <c:v>106.96579820654132</c:v>
                </c:pt>
                <c:pt idx="49">
                  <c:v>107.63354457132257</c:v>
                </c:pt>
                <c:pt idx="50">
                  <c:v>108.26952889098561</c:v>
                </c:pt>
                <c:pt idx="51">
                  <c:v>108.87535635479904</c:v>
                </c:pt>
                <c:pt idx="52">
                  <c:v>109.45326212330875</c:v>
                </c:pt>
                <c:pt idx="53">
                  <c:v>110.00496800329495</c:v>
                </c:pt>
                <c:pt idx="54">
                  <c:v>110.53109601813796</c:v>
                </c:pt>
                <c:pt idx="55">
                  <c:v>111.03297955203546</c:v>
                </c:pt>
                <c:pt idx="56">
                  <c:v>111.51181438775012</c:v>
                </c:pt>
                <c:pt idx="57">
                  <c:v>111.96869926228071</c:v>
                </c:pt>
                <c:pt idx="58">
                  <c:v>112.4046728918227</c:v>
                </c:pt>
                <c:pt idx="59">
                  <c:v>112.82086504665797</c:v>
                </c:pt>
                <c:pt idx="60">
                  <c:v>113.21826094757427</c:v>
                </c:pt>
                <c:pt idx="61">
                  <c:v>113.59776507738047</c:v>
                </c:pt>
                <c:pt idx="62">
                  <c:v>113.9603971938156</c:v>
                </c:pt>
                <c:pt idx="63">
                  <c:v>114.30689288687341</c:v>
                </c:pt>
                <c:pt idx="64">
                  <c:v>114.63816729210518</c:v>
                </c:pt>
                <c:pt idx="65">
                  <c:v>114.95487798723551</c:v>
                </c:pt>
                <c:pt idx="66">
                  <c:v>115.257886882681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05-4A4D-8E6C-DB2C0120E7E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82.560329057835304</c:v>
                </c:pt>
                <c:pt idx="27">
                  <c:v>84.099726532280528</c:v>
                </c:pt>
                <c:pt idx="28">
                  <c:v>85.620089554506521</c:v>
                </c:pt>
                <c:pt idx="29">
                  <c:v>87.111303233122626</c:v>
                </c:pt>
                <c:pt idx="30">
                  <c:v>88.579019042486721</c:v>
                </c:pt>
                <c:pt idx="31">
                  <c:v>90.041068460738828</c:v>
                </c:pt>
                <c:pt idx="32">
                  <c:v>91.494253982729759</c:v>
                </c:pt>
                <c:pt idx="33">
                  <c:v>92.933824380015636</c:v>
                </c:pt>
                <c:pt idx="34">
                  <c:v>94.356940068659867</c:v>
                </c:pt>
                <c:pt idx="35">
                  <c:v>95.76202209983056</c:v>
                </c:pt>
                <c:pt idx="36">
                  <c:v>97.144596583695133</c:v>
                </c:pt>
                <c:pt idx="37">
                  <c:v>98.50487770011361</c:v>
                </c:pt>
                <c:pt idx="38">
                  <c:v>99.841914846041675</c:v>
                </c:pt>
                <c:pt idx="39">
                  <c:v>101.15305619659877</c:v>
                </c:pt>
                <c:pt idx="40">
                  <c:v>102.43509879471362</c:v>
                </c:pt>
                <c:pt idx="41">
                  <c:v>103.68580464639258</c:v>
                </c:pt>
                <c:pt idx="42">
                  <c:v>104.90429725248741</c:v>
                </c:pt>
                <c:pt idx="43">
                  <c:v>106.09124550893964</c:v>
                </c:pt>
                <c:pt idx="44">
                  <c:v>107.24729128165956</c:v>
                </c:pt>
                <c:pt idx="45">
                  <c:v>108.3749462443744</c:v>
                </c:pt>
                <c:pt idx="46">
                  <c:v>109.4739906930744</c:v>
                </c:pt>
                <c:pt idx="47">
                  <c:v>110.54360183565993</c:v>
                </c:pt>
                <c:pt idx="48">
                  <c:v>111.58493753515047</c:v>
                </c:pt>
                <c:pt idx="49">
                  <c:v>112.59904238846072</c:v>
                </c:pt>
                <c:pt idx="50">
                  <c:v>113.585559579376</c:v>
                </c:pt>
                <c:pt idx="51">
                  <c:v>114.54539132981159</c:v>
                </c:pt>
                <c:pt idx="52">
                  <c:v>115.48004407138535</c:v>
                </c:pt>
                <c:pt idx="53">
                  <c:v>116.39053831936452</c:v>
                </c:pt>
                <c:pt idx="54">
                  <c:v>117.27681343091949</c:v>
                </c:pt>
                <c:pt idx="55">
                  <c:v>118.13965889964885</c:v>
                </c:pt>
                <c:pt idx="56">
                  <c:v>118.97968044519115</c:v>
                </c:pt>
                <c:pt idx="57">
                  <c:v>119.7975282303733</c:v>
                </c:pt>
                <c:pt idx="58">
                  <c:v>120.59371834611508</c:v>
                </c:pt>
                <c:pt idx="59">
                  <c:v>121.36899963465341</c:v>
                </c:pt>
                <c:pt idx="60">
                  <c:v>122.12387955288898</c:v>
                </c:pt>
                <c:pt idx="61">
                  <c:v>122.8590839333593</c:v>
                </c:pt>
                <c:pt idx="62">
                  <c:v>123.57510223103776</c:v>
                </c:pt>
                <c:pt idx="63">
                  <c:v>124.27251218208485</c:v>
                </c:pt>
                <c:pt idx="64">
                  <c:v>124.95188128387278</c:v>
                </c:pt>
                <c:pt idx="65">
                  <c:v>125.61364288804334</c:v>
                </c:pt>
                <c:pt idx="66">
                  <c:v>126.25831501409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05-4A4D-8E6C-DB2C0120E7E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82.579385181303081</c:v>
                </c:pt>
                <c:pt idx="27">
                  <c:v>84.155284921922146</c:v>
                </c:pt>
                <c:pt idx="28">
                  <c:v>85.727203803459645</c:v>
                </c:pt>
                <c:pt idx="29">
                  <c:v>87.283315648763704</c:v>
                </c:pt>
                <c:pt idx="30">
                  <c:v>88.832649876700287</c:v>
                </c:pt>
                <c:pt idx="31">
                  <c:v>90.395967448497615</c:v>
                </c:pt>
                <c:pt idx="32">
                  <c:v>91.973406342552011</c:v>
                </c:pt>
                <c:pt idx="33">
                  <c:v>93.562414307784408</c:v>
                </c:pt>
                <c:pt idx="34">
                  <c:v>95.158179653423929</c:v>
                </c:pt>
                <c:pt idx="35">
                  <c:v>96.758088568561845</c:v>
                </c:pt>
                <c:pt idx="36">
                  <c:v>98.358347913736395</c:v>
                </c:pt>
                <c:pt idx="37">
                  <c:v>99.960474776697097</c:v>
                </c:pt>
                <c:pt idx="38">
                  <c:v>101.56353237863655</c:v>
                </c:pt>
                <c:pt idx="39">
                  <c:v>103.16412360429186</c:v>
                </c:pt>
                <c:pt idx="40">
                  <c:v>104.75821828069273</c:v>
                </c:pt>
                <c:pt idx="41">
                  <c:v>106.34229015827748</c:v>
                </c:pt>
                <c:pt idx="42">
                  <c:v>107.91472869050668</c:v>
                </c:pt>
                <c:pt idx="43">
                  <c:v>109.47602001716454</c:v>
                </c:pt>
                <c:pt idx="44">
                  <c:v>111.02659291831452</c:v>
                </c:pt>
                <c:pt idx="45">
                  <c:v>112.56805654094863</c:v>
                </c:pt>
                <c:pt idx="46">
                  <c:v>114.09895740161426</c:v>
                </c:pt>
                <c:pt idx="47">
                  <c:v>115.61766974468716</c:v>
                </c:pt>
                <c:pt idx="48">
                  <c:v>117.12496664758507</c:v>
                </c:pt>
                <c:pt idx="49">
                  <c:v>118.62101483887598</c:v>
                </c:pt>
                <c:pt idx="50">
                  <c:v>120.1050863069909</c:v>
                </c:pt>
                <c:pt idx="51">
                  <c:v>121.57720279014595</c:v>
                </c:pt>
                <c:pt idx="52">
                  <c:v>123.03829477252197</c:v>
                </c:pt>
                <c:pt idx="53">
                  <c:v>124.48861491894007</c:v>
                </c:pt>
                <c:pt idx="54">
                  <c:v>125.92746780789818</c:v>
                </c:pt>
                <c:pt idx="55">
                  <c:v>127.3553848684804</c:v>
                </c:pt>
                <c:pt idx="56">
                  <c:v>128.77220873816896</c:v>
                </c:pt>
                <c:pt idx="57">
                  <c:v>130.1779702675924</c:v>
                </c:pt>
                <c:pt idx="58">
                  <c:v>131.57288720631976</c:v>
                </c:pt>
                <c:pt idx="59">
                  <c:v>132.95678012075919</c:v>
                </c:pt>
                <c:pt idx="60">
                  <c:v>134.32993337952479</c:v>
                </c:pt>
                <c:pt idx="61">
                  <c:v>135.69246128741952</c:v>
                </c:pt>
                <c:pt idx="62">
                  <c:v>137.04444414684423</c:v>
                </c:pt>
                <c:pt idx="63">
                  <c:v>138.38595533649175</c:v>
                </c:pt>
                <c:pt idx="64">
                  <c:v>139.71707014577208</c:v>
                </c:pt>
                <c:pt idx="65">
                  <c:v>141.0379857653725</c:v>
                </c:pt>
                <c:pt idx="66">
                  <c:v>142.3486604895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E05-4A4D-8E6C-DB2C0120E7E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82.608042099800599</c:v>
                </c:pt>
                <c:pt idx="27">
                  <c:v>84.23886676383492</c:v>
                </c:pt>
                <c:pt idx="28">
                  <c:v>85.888265565173285</c:v>
                </c:pt>
                <c:pt idx="29">
                  <c:v>87.54181404136942</c:v>
                </c:pt>
                <c:pt idx="30">
                  <c:v>89.21562297681298</c:v>
                </c:pt>
                <c:pt idx="31">
                  <c:v>90.936354519018096</c:v>
                </c:pt>
                <c:pt idx="32">
                  <c:v>92.710448620789776</c:v>
                </c:pt>
                <c:pt idx="33">
                  <c:v>94.540040320578854</c:v>
                </c:pt>
                <c:pt idx="34">
                  <c:v>96.417619397990393</c:v>
                </c:pt>
                <c:pt idx="35">
                  <c:v>98.340368385228743</c:v>
                </c:pt>
                <c:pt idx="36">
                  <c:v>100.30718702276235</c:v>
                </c:pt>
                <c:pt idx="37">
                  <c:v>102.3241584232986</c:v>
                </c:pt>
                <c:pt idx="38">
                  <c:v>104.3926945823623</c:v>
                </c:pt>
                <c:pt idx="39">
                  <c:v>106.50970576869469</c:v>
                </c:pt>
                <c:pt idx="40">
                  <c:v>108.67062791321842</c:v>
                </c:pt>
                <c:pt idx="41">
                  <c:v>110.87182714934919</c:v>
                </c:pt>
                <c:pt idx="42">
                  <c:v>113.11330604307669</c:v>
                </c:pt>
                <c:pt idx="43">
                  <c:v>115.39741461737569</c:v>
                </c:pt>
                <c:pt idx="44">
                  <c:v>117.72591517391112</c:v>
                </c:pt>
                <c:pt idx="45">
                  <c:v>120.10048572562759</c:v>
                </c:pt>
                <c:pt idx="46">
                  <c:v>122.51983916566812</c:v>
                </c:pt>
                <c:pt idx="47">
                  <c:v>124.98254900075939</c:v>
                </c:pt>
                <c:pt idx="48">
                  <c:v>127.49051579292826</c:v>
                </c:pt>
                <c:pt idx="49">
                  <c:v>130.04539588674956</c:v>
                </c:pt>
                <c:pt idx="50">
                  <c:v>132.64719017518874</c:v>
                </c:pt>
                <c:pt idx="51">
                  <c:v>135.29638132510735</c:v>
                </c:pt>
                <c:pt idx="52">
                  <c:v>137.99410177783247</c:v>
                </c:pt>
                <c:pt idx="53">
                  <c:v>140.74139690822096</c:v>
                </c:pt>
                <c:pt idx="54">
                  <c:v>143.53867990424524</c:v>
                </c:pt>
                <c:pt idx="55">
                  <c:v>146.38738620458639</c:v>
                </c:pt>
                <c:pt idx="56">
                  <c:v>149.28817813227451</c:v>
                </c:pt>
                <c:pt idx="57">
                  <c:v>152.24170603415041</c:v>
                </c:pt>
                <c:pt idx="58">
                  <c:v>155.2487356204042</c:v>
                </c:pt>
                <c:pt idx="59">
                  <c:v>158.31030681532206</c:v>
                </c:pt>
                <c:pt idx="60">
                  <c:v>161.42743087664547</c:v>
                </c:pt>
                <c:pt idx="61">
                  <c:v>164.6011415869857</c:v>
                </c:pt>
                <c:pt idx="62">
                  <c:v>167.83246582654834</c:v>
                </c:pt>
                <c:pt idx="63">
                  <c:v>171.12231893978202</c:v>
                </c:pt>
                <c:pt idx="64">
                  <c:v>174.47171558351317</c:v>
                </c:pt>
                <c:pt idx="65">
                  <c:v>177.88170929954219</c:v>
                </c:pt>
                <c:pt idx="66">
                  <c:v>181.35336365511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9</c:v>
                </c:pt>
                <c:pt idx="2">
                  <c:v>14</c:v>
                </c:pt>
                <c:pt idx="3">
                  <c:v>17</c:v>
                </c:pt>
                <c:pt idx="4">
                  <c:v>24</c:v>
                </c:pt>
                <c:pt idx="5">
                  <c:v>28</c:v>
                </c:pt>
                <c:pt idx="6">
                  <c:v>32</c:v>
                </c:pt>
                <c:pt idx="7">
                  <c:v>39</c:v>
                </c:pt>
                <c:pt idx="8">
                  <c:v>43</c:v>
                </c:pt>
                <c:pt idx="9">
                  <c:v>49</c:v>
                </c:pt>
                <c:pt idx="10">
                  <c:v>52</c:v>
                </c:pt>
                <c:pt idx="11">
                  <c:v>57</c:v>
                </c:pt>
                <c:pt idx="12">
                  <c:v>61</c:v>
                </c:pt>
                <c:pt idx="13">
                  <c:v>64</c:v>
                </c:pt>
                <c:pt idx="14">
                  <c:v>68</c:v>
                </c:pt>
                <c:pt idx="15">
                  <c:v>69</c:v>
                </c:pt>
                <c:pt idx="16">
                  <c:v>71</c:v>
                </c:pt>
                <c:pt idx="17">
                  <c:v>75</c:v>
                </c:pt>
                <c:pt idx="18">
                  <c:v>82</c:v>
                </c:pt>
                <c:pt idx="19">
                  <c:v>85</c:v>
                </c:pt>
                <c:pt idx="20">
                  <c:v>86</c:v>
                </c:pt>
                <c:pt idx="21">
                  <c:v>88</c:v>
                </c:pt>
                <c:pt idx="22">
                  <c:v>89</c:v>
                </c:pt>
                <c:pt idx="23">
                  <c:v>91</c:v>
                </c:pt>
                <c:pt idx="24">
                  <c:v>93</c:v>
                </c:pt>
                <c:pt idx="25">
                  <c:v>95</c:v>
                </c:pt>
                <c:pt idx="26">
                  <c:v>96</c:v>
                </c:pt>
                <c:pt idx="27">
                  <c:v>99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1</c:v>
                </c:pt>
                <c:pt idx="33">
                  <c:v>102</c:v>
                </c:pt>
                <c:pt idx="34">
                  <c:v>105</c:v>
                </c:pt>
                <c:pt idx="35">
                  <c:v>105</c:v>
                </c:pt>
                <c:pt idx="36">
                  <c:v>106</c:v>
                </c:pt>
                <c:pt idx="37">
                  <c:v>108</c:v>
                </c:pt>
                <c:pt idx="38">
                  <c:v>110</c:v>
                </c:pt>
                <c:pt idx="39">
                  <c:v>110</c:v>
                </c:pt>
                <c:pt idx="40">
                  <c:v>110</c:v>
                </c:pt>
                <c:pt idx="41">
                  <c:v>112</c:v>
                </c:pt>
                <c:pt idx="42">
                  <c:v>112</c:v>
                </c:pt>
                <c:pt idx="43">
                  <c:v>112</c:v>
                </c:pt>
                <c:pt idx="44">
                  <c:v>113</c:v>
                </c:pt>
                <c:pt idx="45">
                  <c:v>114</c:v>
                </c:pt>
                <c:pt idx="46">
                  <c:v>114</c:v>
                </c:pt>
                <c:pt idx="47">
                  <c:v>114</c:v>
                </c:pt>
                <c:pt idx="48">
                  <c:v>117</c:v>
                </c:pt>
                <c:pt idx="49">
                  <c:v>117</c:v>
                </c:pt>
                <c:pt idx="50">
                  <c:v>117</c:v>
                </c:pt>
                <c:pt idx="51">
                  <c:v>117</c:v>
                </c:pt>
                <c:pt idx="52">
                  <c:v>117</c:v>
                </c:pt>
                <c:pt idx="53">
                  <c:v>117</c:v>
                </c:pt>
                <c:pt idx="54">
                  <c:v>117</c:v>
                </c:pt>
                <c:pt idx="55">
                  <c:v>117</c:v>
                </c:pt>
                <c:pt idx="56">
                  <c:v>118</c:v>
                </c:pt>
                <c:pt idx="57">
                  <c:v>118</c:v>
                </c:pt>
                <c:pt idx="58">
                  <c:v>118</c:v>
                </c:pt>
                <c:pt idx="59">
                  <c:v>119</c:v>
                </c:pt>
                <c:pt idx="60">
                  <c:v>119</c:v>
                </c:pt>
                <c:pt idx="61">
                  <c:v>119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6.322285426850513</c:v>
                </c:pt>
                <c:pt idx="27">
                  <c:v>97.605697510571702</c:v>
                </c:pt>
                <c:pt idx="28">
                  <c:v>98.859250638265422</c:v>
                </c:pt>
                <c:pt idx="29">
                  <c:v>100.07905470948941</c:v>
                </c:pt>
                <c:pt idx="30">
                  <c:v>101.26541060791196</c:v>
                </c:pt>
                <c:pt idx="31">
                  <c:v>102.43049208063165</c:v>
                </c:pt>
                <c:pt idx="32">
                  <c:v>103.56848340575608</c:v>
                </c:pt>
                <c:pt idx="33">
                  <c:v>104.67479358502669</c:v>
                </c:pt>
                <c:pt idx="34">
                  <c:v>105.74727810725676</c:v>
                </c:pt>
                <c:pt idx="35">
                  <c:v>106.787399683027</c:v>
                </c:pt>
                <c:pt idx="36">
                  <c:v>107.79295230613712</c:v>
                </c:pt>
                <c:pt idx="37">
                  <c:v>108.76305962145895</c:v>
                </c:pt>
                <c:pt idx="38">
                  <c:v>109.69837917976386</c:v>
                </c:pt>
                <c:pt idx="39">
                  <c:v>110.5971517608337</c:v>
                </c:pt>
                <c:pt idx="40">
                  <c:v>111.45878838891504</c:v>
                </c:pt>
                <c:pt idx="41">
                  <c:v>112.28259216330368</c:v>
                </c:pt>
                <c:pt idx="42">
                  <c:v>113.06898158326572</c:v>
                </c:pt>
                <c:pt idx="43">
                  <c:v>113.8196835405839</c:v>
                </c:pt>
                <c:pt idx="44">
                  <c:v>114.5352208615532</c:v>
                </c:pt>
                <c:pt idx="45">
                  <c:v>115.21917506369522</c:v>
                </c:pt>
                <c:pt idx="46">
                  <c:v>115.87223616716807</c:v>
                </c:pt>
                <c:pt idx="47">
                  <c:v>116.49419950149689</c:v>
                </c:pt>
                <c:pt idx="48">
                  <c:v>117.08706014650897</c:v>
                </c:pt>
                <c:pt idx="49">
                  <c:v>117.65255519548774</c:v>
                </c:pt>
                <c:pt idx="50">
                  <c:v>118.19125138050694</c:v>
                </c:pt>
                <c:pt idx="51">
                  <c:v>118.70424107098941</c:v>
                </c:pt>
                <c:pt idx="52">
                  <c:v>119.19358635272881</c:v>
                </c:pt>
                <c:pt idx="53">
                  <c:v>119.66106946751658</c:v>
                </c:pt>
                <c:pt idx="54">
                  <c:v>120.10692042793545</c:v>
                </c:pt>
                <c:pt idx="55">
                  <c:v>120.53213480552171</c:v>
                </c:pt>
                <c:pt idx="56">
                  <c:v>120.93781323620577</c:v>
                </c:pt>
                <c:pt idx="57">
                  <c:v>121.32490332150448</c:v>
                </c:pt>
                <c:pt idx="58">
                  <c:v>121.69428212641944</c:v>
                </c:pt>
                <c:pt idx="59">
                  <c:v>122.0469052797784</c:v>
                </c:pt>
                <c:pt idx="60">
                  <c:v>122.38360756146344</c:v>
                </c:pt>
                <c:pt idx="61">
                  <c:v>122.70515451864398</c:v>
                </c:pt>
                <c:pt idx="62">
                  <c:v>123.01241076837346</c:v>
                </c:pt>
                <c:pt idx="63">
                  <c:v>123.30600045470759</c:v>
                </c:pt>
                <c:pt idx="64">
                  <c:v>123.58669966499775</c:v>
                </c:pt>
                <c:pt idx="65">
                  <c:v>123.8550627578103</c:v>
                </c:pt>
                <c:pt idx="66">
                  <c:v>124.111821135858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A32-4C6F-BC4A-CA01BB65977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6.338901677334235</c:v>
                </c:pt>
                <c:pt idx="27">
                  <c:v>97.654069041500421</c:v>
                </c:pt>
                <c:pt idx="28">
                  <c:v>98.952393624514144</c:v>
                </c:pt>
                <c:pt idx="29">
                  <c:v>100.22854877935279</c:v>
                </c:pt>
                <c:pt idx="30">
                  <c:v>101.48498993011013</c:v>
                </c:pt>
                <c:pt idx="31">
                  <c:v>102.73551670719283</c:v>
                </c:pt>
                <c:pt idx="32">
                  <c:v>103.97622168847079</c:v>
                </c:pt>
                <c:pt idx="33">
                  <c:v>105.203858064926</c:v>
                </c:pt>
                <c:pt idx="34">
                  <c:v>106.41445628439338</c:v>
                </c:pt>
                <c:pt idx="35">
                  <c:v>107.60830230306412</c:v>
                </c:pt>
                <c:pt idx="36">
                  <c:v>108.78277415365331</c:v>
                </c:pt>
                <c:pt idx="37">
                  <c:v>109.93715485820563</c:v>
                </c:pt>
                <c:pt idx="38">
                  <c:v>111.07168075636929</c:v>
                </c:pt>
                <c:pt idx="39">
                  <c:v>112.18363747235441</c:v>
                </c:pt>
                <c:pt idx="40">
                  <c:v>113.27091512110275</c:v>
                </c:pt>
                <c:pt idx="41">
                  <c:v>114.33144548314161</c:v>
                </c:pt>
                <c:pt idx="42">
                  <c:v>115.36491669364921</c:v>
                </c:pt>
                <c:pt idx="43">
                  <c:v>116.37215361614578</c:v>
                </c:pt>
                <c:pt idx="44">
                  <c:v>117.35274466024231</c:v>
                </c:pt>
                <c:pt idx="45">
                  <c:v>118.30928726250825</c:v>
                </c:pt>
                <c:pt idx="46">
                  <c:v>119.24176346759533</c:v>
                </c:pt>
                <c:pt idx="47">
                  <c:v>120.14898961939636</c:v>
                </c:pt>
                <c:pt idx="48">
                  <c:v>121.03190209673531</c:v>
                </c:pt>
                <c:pt idx="49">
                  <c:v>121.89180459474584</c:v>
                </c:pt>
                <c:pt idx="50">
                  <c:v>122.72842112353354</c:v>
                </c:pt>
                <c:pt idx="51">
                  <c:v>123.54224334634922</c:v>
                </c:pt>
                <c:pt idx="52">
                  <c:v>124.33470591795667</c:v>
                </c:pt>
                <c:pt idx="53">
                  <c:v>125.10700281386124</c:v>
                </c:pt>
                <c:pt idx="54">
                  <c:v>125.85880300956354</c:v>
                </c:pt>
                <c:pt idx="55">
                  <c:v>126.59063729338644</c:v>
                </c:pt>
                <c:pt idx="56">
                  <c:v>127.3030968308183</c:v>
                </c:pt>
                <c:pt idx="57">
                  <c:v>127.99675332234295</c:v>
                </c:pt>
                <c:pt idx="58">
                  <c:v>128.67204229560207</c:v>
                </c:pt>
                <c:pt idx="59">
                  <c:v>129.32959953216408</c:v>
                </c:pt>
                <c:pt idx="60">
                  <c:v>129.96985647723577</c:v>
                </c:pt>
                <c:pt idx="61">
                  <c:v>130.59342960113014</c:v>
                </c:pt>
                <c:pt idx="62">
                  <c:v>131.20073433362782</c:v>
                </c:pt>
                <c:pt idx="63">
                  <c:v>131.79225817576065</c:v>
                </c:pt>
                <c:pt idx="64">
                  <c:v>132.36848589883002</c:v>
                </c:pt>
                <c:pt idx="65">
                  <c:v>132.92978155030193</c:v>
                </c:pt>
                <c:pt idx="66">
                  <c:v>133.47658411221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A32-4C6F-BC4A-CA01BB65977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6.355392047132412</c:v>
                </c:pt>
                <c:pt idx="27">
                  <c:v>97.70226866431463</c:v>
                </c:pt>
                <c:pt idx="28">
                  <c:v>99.045328393153909</c:v>
                </c:pt>
                <c:pt idx="29">
                  <c:v>100.3777984305319</c:v>
                </c:pt>
                <c:pt idx="30">
                  <c:v>101.70504464018205</c:v>
                </c:pt>
                <c:pt idx="31">
                  <c:v>103.04327553918996</c:v>
                </c:pt>
                <c:pt idx="32">
                  <c:v>104.39126506390188</c:v>
                </c:pt>
                <c:pt idx="33">
                  <c:v>105.74761744926708</c:v>
                </c:pt>
                <c:pt idx="34">
                  <c:v>107.10662838358039</c:v>
                </c:pt>
                <c:pt idx="35">
                  <c:v>108.46758086511929</c:v>
                </c:pt>
                <c:pt idx="36">
                  <c:v>109.82847140034744</c:v>
                </c:pt>
                <c:pt idx="37">
                  <c:v>111.18979074034289</c:v>
                </c:pt>
                <c:pt idx="38">
                  <c:v>112.55173164954556</c:v>
                </c:pt>
                <c:pt idx="39">
                  <c:v>113.91095747591896</c:v>
                </c:pt>
                <c:pt idx="40">
                  <c:v>115.2645960969968</c:v>
                </c:pt>
                <c:pt idx="41">
                  <c:v>116.60954380297875</c:v>
                </c:pt>
                <c:pt idx="42">
                  <c:v>117.94487593483655</c:v>
                </c:pt>
                <c:pt idx="43">
                  <c:v>119.27127566433033</c:v>
                </c:pt>
                <c:pt idx="44">
                  <c:v>120.58815802771369</c:v>
                </c:pt>
                <c:pt idx="45">
                  <c:v>121.89730937667687</c:v>
                </c:pt>
                <c:pt idx="46">
                  <c:v>123.19766464773713</c:v>
                </c:pt>
                <c:pt idx="47">
                  <c:v>124.48735441005125</c:v>
                </c:pt>
                <c:pt idx="48">
                  <c:v>125.76700759411094</c:v>
                </c:pt>
                <c:pt idx="49">
                  <c:v>127.0371818866777</c:v>
                </c:pt>
                <c:pt idx="50">
                  <c:v>128.2972965968126</c:v>
                </c:pt>
                <c:pt idx="51">
                  <c:v>129.54709792592797</c:v>
                </c:pt>
                <c:pt idx="52">
                  <c:v>130.78751916833835</c:v>
                </c:pt>
                <c:pt idx="53">
                  <c:v>132.01910524977444</c:v>
                </c:pt>
                <c:pt idx="54">
                  <c:v>133.24100383432904</c:v>
                </c:pt>
                <c:pt idx="55">
                  <c:v>134.45353339632237</c:v>
                </c:pt>
                <c:pt idx="56">
                  <c:v>135.65662372870045</c:v>
                </c:pt>
                <c:pt idx="57">
                  <c:v>136.85031433691879</c:v>
                </c:pt>
                <c:pt idx="58">
                  <c:v>138.03479749523359</c:v>
                </c:pt>
                <c:pt idx="59">
                  <c:v>139.20991892009789</c:v>
                </c:pt>
                <c:pt idx="60">
                  <c:v>140.37592294948755</c:v>
                </c:pt>
                <c:pt idx="61">
                  <c:v>141.53290995111445</c:v>
                </c:pt>
                <c:pt idx="62">
                  <c:v>142.68094187762944</c:v>
                </c:pt>
                <c:pt idx="63">
                  <c:v>143.82007982448269</c:v>
                </c:pt>
                <c:pt idx="64">
                  <c:v>144.95038784412012</c:v>
                </c:pt>
                <c:pt idx="65">
                  <c:v>146.07203885670398</c:v>
                </c:pt>
                <c:pt idx="66">
                  <c:v>147.18499559196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A32-4C6F-BC4A-CA01BB65977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96.380190542172613</c:v>
                </c:pt>
                <c:pt idx="27">
                  <c:v>97.774779933278793</c:v>
                </c:pt>
                <c:pt idx="28">
                  <c:v>99.185069503375189</c:v>
                </c:pt>
                <c:pt idx="29">
                  <c:v>100.60208928830876</c:v>
                </c:pt>
                <c:pt idx="30">
                  <c:v>102.03731457015205</c:v>
                </c:pt>
                <c:pt idx="31">
                  <c:v>103.51188344169715</c:v>
                </c:pt>
                <c:pt idx="32">
                  <c:v>105.02971249950019</c:v>
                </c:pt>
                <c:pt idx="33">
                  <c:v>106.59338841353234</c:v>
                </c:pt>
                <c:pt idx="34">
                  <c:v>108.19483373699407</c:v>
                </c:pt>
                <c:pt idx="35">
                  <c:v>109.83297361603947</c:v>
                </c:pt>
                <c:pt idx="36">
                  <c:v>111.5081540040145</c:v>
                </c:pt>
                <c:pt idx="37">
                  <c:v>113.22490280947551</c:v>
                </c:pt>
                <c:pt idx="38">
                  <c:v>114.98532975479695</c:v>
                </c:pt>
                <c:pt idx="39">
                  <c:v>116.78635873858902</c:v>
                </c:pt>
                <c:pt idx="40">
                  <c:v>118.62455731422516</c:v>
                </c:pt>
                <c:pt idx="41">
                  <c:v>120.49682331767286</c:v>
                </c:pt>
                <c:pt idx="42">
                  <c:v>122.40363405103054</c:v>
                </c:pt>
                <c:pt idx="43">
                  <c:v>124.34728105927968</c:v>
                </c:pt>
                <c:pt idx="44">
                  <c:v>126.32830539205273</c:v>
                </c:pt>
                <c:pt idx="45">
                  <c:v>128.34847928291907</c:v>
                </c:pt>
                <c:pt idx="46">
                  <c:v>130.40689137538547</c:v>
                </c:pt>
                <c:pt idx="47">
                  <c:v>132.50182741485304</c:v>
                </c:pt>
                <c:pt idx="48">
                  <c:v>134.6349010940848</c:v>
                </c:pt>
                <c:pt idx="49">
                  <c:v>136.80795103057713</c:v>
                </c:pt>
                <c:pt idx="50">
                  <c:v>139.02102679051336</c:v>
                </c:pt>
                <c:pt idx="51">
                  <c:v>141.27425130017272</c:v>
                </c:pt>
                <c:pt idx="52">
                  <c:v>143.56870618868018</c:v>
                </c:pt>
                <c:pt idx="53">
                  <c:v>145.90562359448086</c:v>
                </c:pt>
                <c:pt idx="54">
                  <c:v>148.28513007386078</c:v>
                </c:pt>
                <c:pt idx="55">
                  <c:v>150.70830738678376</c:v>
                </c:pt>
                <c:pt idx="56">
                  <c:v>153.17575992970671</c:v>
                </c:pt>
                <c:pt idx="57">
                  <c:v>155.68805168374067</c:v>
                </c:pt>
                <c:pt idx="58">
                  <c:v>158.24584134341228</c:v>
                </c:pt>
                <c:pt idx="59">
                  <c:v>160.85002400785433</c:v>
                </c:pt>
                <c:pt idx="60">
                  <c:v>163.50146686275809</c:v>
                </c:pt>
                <c:pt idx="61">
                  <c:v>166.20105053458116</c:v>
                </c:pt>
                <c:pt idx="62">
                  <c:v>168.94963772895974</c:v>
                </c:pt>
                <c:pt idx="63">
                  <c:v>171.74799920457644</c:v>
                </c:pt>
                <c:pt idx="64">
                  <c:v>174.59700245282448</c:v>
                </c:pt>
                <c:pt idx="65">
                  <c:v>177.49755039160704</c:v>
                </c:pt>
                <c:pt idx="66">
                  <c:v>180.450550534770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</c:v>
                </c:pt>
                <c:pt idx="1">
                  <c:v>9</c:v>
                </c:pt>
                <c:pt idx="2">
                  <c:v>13</c:v>
                </c:pt>
                <c:pt idx="3">
                  <c:v>15</c:v>
                </c:pt>
                <c:pt idx="4">
                  <c:v>19</c:v>
                </c:pt>
                <c:pt idx="5">
                  <c:v>25</c:v>
                </c:pt>
                <c:pt idx="6">
                  <c:v>29</c:v>
                </c:pt>
                <c:pt idx="7">
                  <c:v>37</c:v>
                </c:pt>
                <c:pt idx="8">
                  <c:v>42</c:v>
                </c:pt>
                <c:pt idx="9">
                  <c:v>49</c:v>
                </c:pt>
                <c:pt idx="10">
                  <c:v>51</c:v>
                </c:pt>
                <c:pt idx="11">
                  <c:v>55</c:v>
                </c:pt>
                <c:pt idx="12">
                  <c:v>56</c:v>
                </c:pt>
                <c:pt idx="13">
                  <c:v>61</c:v>
                </c:pt>
                <c:pt idx="14">
                  <c:v>63</c:v>
                </c:pt>
                <c:pt idx="15">
                  <c:v>71</c:v>
                </c:pt>
                <c:pt idx="16">
                  <c:v>73</c:v>
                </c:pt>
                <c:pt idx="17">
                  <c:v>75</c:v>
                </c:pt>
                <c:pt idx="18">
                  <c:v>77</c:v>
                </c:pt>
                <c:pt idx="19">
                  <c:v>82</c:v>
                </c:pt>
                <c:pt idx="20">
                  <c:v>86</c:v>
                </c:pt>
                <c:pt idx="21">
                  <c:v>89</c:v>
                </c:pt>
                <c:pt idx="22">
                  <c:v>92</c:v>
                </c:pt>
                <c:pt idx="23">
                  <c:v>93</c:v>
                </c:pt>
                <c:pt idx="24">
                  <c:v>95</c:v>
                </c:pt>
                <c:pt idx="25">
                  <c:v>96</c:v>
                </c:pt>
                <c:pt idx="26">
                  <c:v>101</c:v>
                </c:pt>
                <c:pt idx="27">
                  <c:v>103</c:v>
                </c:pt>
                <c:pt idx="28">
                  <c:v>105</c:v>
                </c:pt>
                <c:pt idx="29">
                  <c:v>105</c:v>
                </c:pt>
                <c:pt idx="30">
                  <c:v>105</c:v>
                </c:pt>
                <c:pt idx="31">
                  <c:v>109</c:v>
                </c:pt>
                <c:pt idx="32">
                  <c:v>110</c:v>
                </c:pt>
                <c:pt idx="33">
                  <c:v>112</c:v>
                </c:pt>
                <c:pt idx="34">
                  <c:v>112</c:v>
                </c:pt>
                <c:pt idx="35">
                  <c:v>113</c:v>
                </c:pt>
                <c:pt idx="36">
                  <c:v>113</c:v>
                </c:pt>
                <c:pt idx="37">
                  <c:v>114</c:v>
                </c:pt>
                <c:pt idx="38">
                  <c:v>114</c:v>
                </c:pt>
                <c:pt idx="39">
                  <c:v>114</c:v>
                </c:pt>
                <c:pt idx="40">
                  <c:v>115</c:v>
                </c:pt>
                <c:pt idx="41">
                  <c:v>117</c:v>
                </c:pt>
                <c:pt idx="42">
                  <c:v>118</c:v>
                </c:pt>
                <c:pt idx="43">
                  <c:v>119</c:v>
                </c:pt>
                <c:pt idx="44">
                  <c:v>120</c:v>
                </c:pt>
                <c:pt idx="45">
                  <c:v>122</c:v>
                </c:pt>
                <c:pt idx="46">
                  <c:v>123</c:v>
                </c:pt>
                <c:pt idx="47">
                  <c:v>123</c:v>
                </c:pt>
                <c:pt idx="48">
                  <c:v>123</c:v>
                </c:pt>
                <c:pt idx="49">
                  <c:v>123</c:v>
                </c:pt>
                <c:pt idx="50">
                  <c:v>123</c:v>
                </c:pt>
                <c:pt idx="51">
                  <c:v>123</c:v>
                </c:pt>
                <c:pt idx="52">
                  <c:v>124</c:v>
                </c:pt>
                <c:pt idx="53">
                  <c:v>124</c:v>
                </c:pt>
                <c:pt idx="54">
                  <c:v>124</c:v>
                </c:pt>
                <c:pt idx="55">
                  <c:v>124</c:v>
                </c:pt>
                <c:pt idx="56">
                  <c:v>124</c:v>
                </c:pt>
                <c:pt idx="57">
                  <c:v>124</c:v>
                </c:pt>
                <c:pt idx="58">
                  <c:v>124</c:v>
                </c:pt>
                <c:pt idx="59">
                  <c:v>124</c:v>
                </c:pt>
                <c:pt idx="60">
                  <c:v>124</c:v>
                </c:pt>
                <c:pt idx="61">
                  <c:v>124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97.642054808814649</c:v>
                </c:pt>
                <c:pt idx="27">
                  <c:v>99.241494223260347</c:v>
                </c:pt>
                <c:pt idx="28">
                  <c:v>100.80443580686089</c:v>
                </c:pt>
                <c:pt idx="29">
                  <c:v>102.32292372933367</c:v>
                </c:pt>
                <c:pt idx="30">
                  <c:v>103.79958393167414</c:v>
                </c:pt>
                <c:pt idx="31">
                  <c:v>105.25083212477621</c:v>
                </c:pt>
                <c:pt idx="32">
                  <c:v>106.6703633092462</c:v>
                </c:pt>
                <c:pt idx="33">
                  <c:v>108.05165847837618</c:v>
                </c:pt>
                <c:pt idx="34">
                  <c:v>109.39345346466541</c:v>
                </c:pt>
                <c:pt idx="35">
                  <c:v>110.69592202801229</c:v>
                </c:pt>
                <c:pt idx="36">
                  <c:v>111.95522193073967</c:v>
                </c:pt>
                <c:pt idx="37">
                  <c:v>113.17120124235683</c:v>
                </c:pt>
                <c:pt idx="38">
                  <c:v>114.34365279265529</c:v>
                </c:pt>
                <c:pt idx="39">
                  <c:v>115.47083935378106</c:v>
                </c:pt>
                <c:pt idx="40">
                  <c:v>116.55138272443347</c:v>
                </c:pt>
                <c:pt idx="41">
                  <c:v>117.58462729981389</c:v>
                </c:pt>
                <c:pt idx="42">
                  <c:v>118.57071182028918</c:v>
                </c:pt>
                <c:pt idx="43">
                  <c:v>119.51156261080065</c:v>
                </c:pt>
                <c:pt idx="44">
                  <c:v>120.40874084593156</c:v>
                </c:pt>
                <c:pt idx="45">
                  <c:v>121.26625632516679</c:v>
                </c:pt>
                <c:pt idx="46">
                  <c:v>122.08483224188679</c:v>
                </c:pt>
                <c:pt idx="47">
                  <c:v>122.86466425588924</c:v>
                </c:pt>
                <c:pt idx="48">
                  <c:v>123.60829671903859</c:v>
                </c:pt>
                <c:pt idx="49">
                  <c:v>124.31752421271642</c:v>
                </c:pt>
                <c:pt idx="50">
                  <c:v>124.99304668332367</c:v>
                </c:pt>
                <c:pt idx="51">
                  <c:v>125.63648821337101</c:v>
                </c:pt>
                <c:pt idx="52">
                  <c:v>126.25027402637434</c:v>
                </c:pt>
                <c:pt idx="53">
                  <c:v>126.83633098817398</c:v>
                </c:pt>
                <c:pt idx="54">
                  <c:v>127.39522993753377</c:v>
                </c:pt>
                <c:pt idx="55">
                  <c:v>127.92834664112139</c:v>
                </c:pt>
                <c:pt idx="56">
                  <c:v>128.43697778993118</c:v>
                </c:pt>
                <c:pt idx="57">
                  <c:v>128.92229555555758</c:v>
                </c:pt>
                <c:pt idx="58">
                  <c:v>129.38540239531261</c:v>
                </c:pt>
                <c:pt idx="59">
                  <c:v>129.82749791670278</c:v>
                </c:pt>
                <c:pt idx="60">
                  <c:v>130.24962867212469</c:v>
                </c:pt>
                <c:pt idx="61">
                  <c:v>130.65275520074323</c:v>
                </c:pt>
                <c:pt idx="62">
                  <c:v>131.03796091560906</c:v>
                </c:pt>
                <c:pt idx="63">
                  <c:v>131.40602746383323</c:v>
                </c:pt>
                <c:pt idx="64">
                  <c:v>131.7579271587669</c:v>
                </c:pt>
                <c:pt idx="65">
                  <c:v>132.09435766330796</c:v>
                </c:pt>
                <c:pt idx="66">
                  <c:v>132.416234877374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A6-48BF-9B93-48BEEFF87E4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97.662556670010815</c:v>
                </c:pt>
                <c:pt idx="27">
                  <c:v>99.301062938366144</c:v>
                </c:pt>
                <c:pt idx="28">
                  <c:v>100.91913345505964</c:v>
                </c:pt>
                <c:pt idx="29">
                  <c:v>102.50700548986158</c:v>
                </c:pt>
                <c:pt idx="30">
                  <c:v>104.06997613911355</c:v>
                </c:pt>
                <c:pt idx="31">
                  <c:v>105.62659069688408</c:v>
                </c:pt>
                <c:pt idx="32">
                  <c:v>107.17308993930904</c:v>
                </c:pt>
                <c:pt idx="33">
                  <c:v>108.70466263371438</c:v>
                </c:pt>
                <c:pt idx="34">
                  <c:v>110.21781915793591</c:v>
                </c:pt>
                <c:pt idx="35">
                  <c:v>111.71137377341491</c:v>
                </c:pt>
                <c:pt idx="36">
                  <c:v>113.18092785361841</c:v>
                </c:pt>
                <c:pt idx="37">
                  <c:v>114.62643696233766</c:v>
                </c:pt>
                <c:pt idx="38">
                  <c:v>116.04720665447181</c:v>
                </c:pt>
                <c:pt idx="39">
                  <c:v>117.44027852556496</c:v>
                </c:pt>
                <c:pt idx="40">
                  <c:v>118.80243304789229</c:v>
                </c:pt>
                <c:pt idx="41">
                  <c:v>120.1312408582094</c:v>
                </c:pt>
                <c:pt idx="42">
                  <c:v>121.42590128944153</c:v>
                </c:pt>
                <c:pt idx="43">
                  <c:v>122.6872030025864</c:v>
                </c:pt>
                <c:pt idx="44">
                  <c:v>123.91553862101802</c:v>
                </c:pt>
                <c:pt idx="45">
                  <c:v>125.11371822161874</c:v>
                </c:pt>
                <c:pt idx="46">
                  <c:v>126.28155933533415</c:v>
                </c:pt>
                <c:pt idx="47">
                  <c:v>127.41804069245649</c:v>
                </c:pt>
                <c:pt idx="48">
                  <c:v>128.52437871049671</c:v>
                </c:pt>
                <c:pt idx="49">
                  <c:v>129.6018097203098</c:v>
                </c:pt>
                <c:pt idx="50">
                  <c:v>130.6499626664345</c:v>
                </c:pt>
                <c:pt idx="51">
                  <c:v>131.66971336542701</c:v>
                </c:pt>
                <c:pt idx="52">
                  <c:v>132.66270992731597</c:v>
                </c:pt>
                <c:pt idx="53">
                  <c:v>133.63013606773313</c:v>
                </c:pt>
                <c:pt idx="54">
                  <c:v>134.57184272512328</c:v>
                </c:pt>
                <c:pt idx="55">
                  <c:v>135.48862672385158</c:v>
                </c:pt>
                <c:pt idx="56">
                  <c:v>136.38115508127981</c:v>
                </c:pt>
                <c:pt idx="57">
                  <c:v>137.25012473464636</c:v>
                </c:pt>
                <c:pt idx="58">
                  <c:v>138.09608337043508</c:v>
                </c:pt>
                <c:pt idx="59">
                  <c:v>138.91982683672907</c:v>
                </c:pt>
                <c:pt idx="60">
                  <c:v>139.72189462715238</c:v>
                </c:pt>
                <c:pt idx="61">
                  <c:v>140.50305820366879</c:v>
                </c:pt>
                <c:pt idx="62">
                  <c:v>141.26383770657273</c:v>
                </c:pt>
                <c:pt idx="63">
                  <c:v>142.00484622678104</c:v>
                </c:pt>
                <c:pt idx="64">
                  <c:v>142.72668777869626</c:v>
                </c:pt>
                <c:pt idx="65">
                  <c:v>143.42982174267797</c:v>
                </c:pt>
                <c:pt idx="66">
                  <c:v>144.11479840482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A6-48BF-9B93-48BEEFF87E4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97.682903214076646</c:v>
                </c:pt>
                <c:pt idx="27">
                  <c:v>99.360420410892004</c:v>
                </c:pt>
                <c:pt idx="28">
                  <c:v>101.03357457220311</c:v>
                </c:pt>
                <c:pt idx="29">
                  <c:v>102.69078630803878</c:v>
                </c:pt>
                <c:pt idx="30">
                  <c:v>104.34095556136319</c:v>
                </c:pt>
                <c:pt idx="31">
                  <c:v>106.00571729629215</c:v>
                </c:pt>
                <c:pt idx="32">
                  <c:v>107.68481158152254</c:v>
                </c:pt>
                <c:pt idx="33">
                  <c:v>109.37575937263129</c:v>
                </c:pt>
                <c:pt idx="34">
                  <c:v>111.07295686576417</c:v>
                </c:pt>
                <c:pt idx="35">
                  <c:v>112.77408086462623</c:v>
                </c:pt>
                <c:pt idx="36">
                  <c:v>114.47546848452086</c:v>
                </c:pt>
                <c:pt idx="37">
                  <c:v>116.17849071564484</c:v>
                </c:pt>
                <c:pt idx="38">
                  <c:v>117.88245106265842</c:v>
                </c:pt>
                <c:pt idx="39">
                  <c:v>119.58360222292553</c:v>
                </c:pt>
                <c:pt idx="40">
                  <c:v>121.27782739190124</c:v>
                </c:pt>
                <c:pt idx="41">
                  <c:v>122.96134572079464</c:v>
                </c:pt>
                <c:pt idx="42">
                  <c:v>124.63257957386602</c:v>
                </c:pt>
                <c:pt idx="43">
                  <c:v>126.29212746181523</c:v>
                </c:pt>
                <c:pt idx="44">
                  <c:v>127.94015782893123</c:v>
                </c:pt>
                <c:pt idx="45">
                  <c:v>129.57850800548167</c:v>
                </c:pt>
                <c:pt idx="46">
                  <c:v>131.20568441636993</c:v>
                </c:pt>
                <c:pt idx="47">
                  <c:v>132.81981120144732</c:v>
                </c:pt>
                <c:pt idx="48">
                  <c:v>134.42170166342029</c:v>
                </c:pt>
                <c:pt idx="49">
                  <c:v>136.01165895363619</c:v>
                </c:pt>
                <c:pt idx="50">
                  <c:v>137.58892068421383</c:v>
                </c:pt>
                <c:pt idx="51">
                  <c:v>139.15342755021771</c:v>
                </c:pt>
                <c:pt idx="52">
                  <c:v>140.70621181703541</c:v>
                </c:pt>
                <c:pt idx="53">
                  <c:v>142.24764201958385</c:v>
                </c:pt>
                <c:pt idx="54">
                  <c:v>143.77689980745762</c:v>
                </c:pt>
                <c:pt idx="55">
                  <c:v>145.29450979600946</c:v>
                </c:pt>
                <c:pt idx="56">
                  <c:v>146.8003239341746</c:v>
                </c:pt>
                <c:pt idx="57">
                  <c:v>148.29437903867694</c:v>
                </c:pt>
                <c:pt idx="58">
                  <c:v>149.77690876759593</c:v>
                </c:pt>
                <c:pt idx="59">
                  <c:v>151.24772183655045</c:v>
                </c:pt>
                <c:pt idx="60">
                  <c:v>152.70712134321198</c:v>
                </c:pt>
                <c:pt idx="61">
                  <c:v>154.15522977258652</c:v>
                </c:pt>
                <c:pt idx="62">
                  <c:v>155.59213058335115</c:v>
                </c:pt>
                <c:pt idx="63">
                  <c:v>157.01790139569937</c:v>
                </c:pt>
                <c:pt idx="64">
                  <c:v>158.4326222644932</c:v>
                </c:pt>
                <c:pt idx="65">
                  <c:v>159.83650442355869</c:v>
                </c:pt>
                <c:pt idx="66">
                  <c:v>161.229502985866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1A6-48BF-9B93-48BEEFF87E4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97.713500688740737</c:v>
                </c:pt>
                <c:pt idx="27">
                  <c:v>99.449717558101156</c:v>
                </c:pt>
                <c:pt idx="28">
                  <c:v>101.205653414591</c:v>
                </c:pt>
                <c:pt idx="29">
                  <c:v>102.96697015882502</c:v>
                </c:pt>
                <c:pt idx="30">
                  <c:v>104.7501230278602</c:v>
                </c:pt>
                <c:pt idx="31">
                  <c:v>106.58299418724316</c:v>
                </c:pt>
                <c:pt idx="32">
                  <c:v>108.47195835389419</c:v>
                </c:pt>
                <c:pt idx="33">
                  <c:v>110.41951885869472</c:v>
                </c:pt>
                <c:pt idx="34">
                  <c:v>112.41717914811133</c:v>
                </c:pt>
                <c:pt idx="35">
                  <c:v>114.46234360534916</c:v>
                </c:pt>
                <c:pt idx="36">
                  <c:v>116.55423037286249</c:v>
                </c:pt>
                <c:pt idx="37">
                  <c:v>118.69911166668309</c:v>
                </c:pt>
                <c:pt idx="38">
                  <c:v>120.898763835122</c:v>
                </c:pt>
                <c:pt idx="39">
                  <c:v>123.14976612602112</c:v>
                </c:pt>
                <c:pt idx="40">
                  <c:v>125.44740192704376</c:v>
                </c:pt>
                <c:pt idx="41">
                  <c:v>127.78780414108525</c:v>
                </c:pt>
                <c:pt idx="42">
                  <c:v>130.17111930842125</c:v>
                </c:pt>
                <c:pt idx="43">
                  <c:v>132.59993466107642</c:v>
                </c:pt>
                <c:pt idx="44">
                  <c:v>135.07583400363856</c:v>
                </c:pt>
                <c:pt idx="45">
                  <c:v>137.60070588417852</c:v>
                </c:pt>
                <c:pt idx="46">
                  <c:v>140.17323731633167</c:v>
                </c:pt>
                <c:pt idx="47">
                  <c:v>142.79175997225647</c:v>
                </c:pt>
                <c:pt idx="48">
                  <c:v>145.45829373868895</c:v>
                </c:pt>
                <c:pt idx="49">
                  <c:v>148.17472979713199</c:v>
                </c:pt>
                <c:pt idx="50">
                  <c:v>150.94108387011119</c:v>
                </c:pt>
                <c:pt idx="51">
                  <c:v>153.75778209146108</c:v>
                </c:pt>
                <c:pt idx="52">
                  <c:v>156.62606435949652</c:v>
                </c:pt>
                <c:pt idx="53">
                  <c:v>159.54714597272235</c:v>
                </c:pt>
                <c:pt idx="54">
                  <c:v>162.52139817866993</c:v>
                </c:pt>
                <c:pt idx="55">
                  <c:v>165.55030506601759</c:v>
                </c:pt>
                <c:pt idx="56">
                  <c:v>168.63458326712623</c:v>
                </c:pt>
                <c:pt idx="57">
                  <c:v>171.77492753096419</c:v>
                </c:pt>
                <c:pt idx="58">
                  <c:v>174.97215423299079</c:v>
                </c:pt>
                <c:pt idx="59">
                  <c:v>178.22737226265758</c:v>
                </c:pt>
                <c:pt idx="60">
                  <c:v>181.54165896133429</c:v>
                </c:pt>
                <c:pt idx="61">
                  <c:v>184.91611388892682</c:v>
                </c:pt>
                <c:pt idx="62">
                  <c:v>188.35182561910426</c:v>
                </c:pt>
                <c:pt idx="63">
                  <c:v>191.84976502063108</c:v>
                </c:pt>
                <c:pt idx="64">
                  <c:v>195.41101226634078</c:v>
                </c:pt>
                <c:pt idx="65">
                  <c:v>199.03668958510724</c:v>
                </c:pt>
                <c:pt idx="66">
                  <c:v>202.727928675284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1</c:v>
                </c:pt>
                <c:pt idx="1">
                  <c:v>46</c:v>
                </c:pt>
                <c:pt idx="2">
                  <c:v>55</c:v>
                </c:pt>
                <c:pt idx="3">
                  <c:v>69</c:v>
                </c:pt>
                <c:pt idx="4">
                  <c:v>81</c:v>
                </c:pt>
                <c:pt idx="5">
                  <c:v>100</c:v>
                </c:pt>
                <c:pt idx="6">
                  <c:v>120</c:v>
                </c:pt>
                <c:pt idx="7">
                  <c:v>133</c:v>
                </c:pt>
                <c:pt idx="8">
                  <c:v>143</c:v>
                </c:pt>
                <c:pt idx="9">
                  <c:v>159</c:v>
                </c:pt>
                <c:pt idx="10">
                  <c:v>171</c:v>
                </c:pt>
                <c:pt idx="11">
                  <c:v>186</c:v>
                </c:pt>
                <c:pt idx="12">
                  <c:v>195</c:v>
                </c:pt>
                <c:pt idx="13">
                  <c:v>206</c:v>
                </c:pt>
                <c:pt idx="14">
                  <c:v>217</c:v>
                </c:pt>
                <c:pt idx="15">
                  <c:v>230</c:v>
                </c:pt>
                <c:pt idx="16">
                  <c:v>244</c:v>
                </c:pt>
                <c:pt idx="17">
                  <c:v>252</c:v>
                </c:pt>
                <c:pt idx="18">
                  <c:v>267</c:v>
                </c:pt>
                <c:pt idx="19">
                  <c:v>274</c:v>
                </c:pt>
                <c:pt idx="20">
                  <c:v>282</c:v>
                </c:pt>
                <c:pt idx="21">
                  <c:v>294</c:v>
                </c:pt>
                <c:pt idx="22">
                  <c:v>305</c:v>
                </c:pt>
                <c:pt idx="23">
                  <c:v>310</c:v>
                </c:pt>
                <c:pt idx="24">
                  <c:v>315</c:v>
                </c:pt>
                <c:pt idx="25">
                  <c:v>321</c:v>
                </c:pt>
                <c:pt idx="26">
                  <c:v>328</c:v>
                </c:pt>
                <c:pt idx="27">
                  <c:v>341</c:v>
                </c:pt>
                <c:pt idx="28">
                  <c:v>348</c:v>
                </c:pt>
                <c:pt idx="29">
                  <c:v>357</c:v>
                </c:pt>
                <c:pt idx="30">
                  <c:v>359</c:v>
                </c:pt>
                <c:pt idx="31">
                  <c:v>366</c:v>
                </c:pt>
                <c:pt idx="32">
                  <c:v>372</c:v>
                </c:pt>
                <c:pt idx="33">
                  <c:v>383</c:v>
                </c:pt>
                <c:pt idx="34">
                  <c:v>397</c:v>
                </c:pt>
                <c:pt idx="35">
                  <c:v>405</c:v>
                </c:pt>
                <c:pt idx="36">
                  <c:v>412</c:v>
                </c:pt>
                <c:pt idx="37">
                  <c:v>418</c:v>
                </c:pt>
                <c:pt idx="38">
                  <c:v>424</c:v>
                </c:pt>
                <c:pt idx="39">
                  <c:v>432</c:v>
                </c:pt>
                <c:pt idx="40">
                  <c:v>439</c:v>
                </c:pt>
                <c:pt idx="41">
                  <c:v>442</c:v>
                </c:pt>
                <c:pt idx="42">
                  <c:v>447</c:v>
                </c:pt>
                <c:pt idx="43">
                  <c:v>453</c:v>
                </c:pt>
                <c:pt idx="44">
                  <c:v>456</c:v>
                </c:pt>
                <c:pt idx="45">
                  <c:v>458</c:v>
                </c:pt>
                <c:pt idx="46">
                  <c:v>459</c:v>
                </c:pt>
                <c:pt idx="47">
                  <c:v>463</c:v>
                </c:pt>
                <c:pt idx="48">
                  <c:v>465</c:v>
                </c:pt>
                <c:pt idx="49">
                  <c:v>468</c:v>
                </c:pt>
                <c:pt idx="50">
                  <c:v>470</c:v>
                </c:pt>
                <c:pt idx="51">
                  <c:v>473</c:v>
                </c:pt>
                <c:pt idx="52">
                  <c:v>474</c:v>
                </c:pt>
                <c:pt idx="53">
                  <c:v>477</c:v>
                </c:pt>
                <c:pt idx="54">
                  <c:v>480</c:v>
                </c:pt>
                <c:pt idx="55">
                  <c:v>483</c:v>
                </c:pt>
                <c:pt idx="56">
                  <c:v>486</c:v>
                </c:pt>
                <c:pt idx="57">
                  <c:v>486</c:v>
                </c:pt>
                <c:pt idx="58">
                  <c:v>486</c:v>
                </c:pt>
                <c:pt idx="59">
                  <c:v>487</c:v>
                </c:pt>
                <c:pt idx="60">
                  <c:v>489</c:v>
                </c:pt>
                <c:pt idx="61">
                  <c:v>489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27.81485060978127</c:v>
                </c:pt>
                <c:pt idx="27">
                  <c:v>334.46310333401624</c:v>
                </c:pt>
                <c:pt idx="28">
                  <c:v>340.96093846421093</c:v>
                </c:pt>
                <c:pt idx="29">
                  <c:v>347.2696693131889</c:v>
                </c:pt>
                <c:pt idx="30">
                  <c:v>353.40427950262409</c:v>
                </c:pt>
                <c:pt idx="31">
                  <c:v>359.4352518702425</c:v>
                </c:pt>
                <c:pt idx="32">
                  <c:v>365.33808303935882</c:v>
                </c:pt>
                <c:pt idx="33">
                  <c:v>371.08423450322323</c:v>
                </c:pt>
                <c:pt idx="34">
                  <c:v>376.6709972861197</c:v>
                </c:pt>
                <c:pt idx="35">
                  <c:v>382.09611286055735</c:v>
                </c:pt>
                <c:pt idx="36">
                  <c:v>387.34163489733078</c:v>
                </c:pt>
                <c:pt idx="37">
                  <c:v>392.40863131351364</c:v>
                </c:pt>
                <c:pt idx="38">
                  <c:v>397.29438534947093</c:v>
                </c:pt>
                <c:pt idx="39">
                  <c:v>401.99249875641624</c:v>
                </c:pt>
                <c:pt idx="40">
                  <c:v>406.49607850607794</c:v>
                </c:pt>
                <c:pt idx="41">
                  <c:v>410.80278431770472</c:v>
                </c:pt>
                <c:pt idx="42">
                  <c:v>414.91250095665043</c:v>
                </c:pt>
                <c:pt idx="43">
                  <c:v>418.83282728799838</c:v>
                </c:pt>
                <c:pt idx="44">
                  <c:v>422.57189661733923</c:v>
                </c:pt>
                <c:pt idx="45">
                  <c:v>426.14555620226082</c:v>
                </c:pt>
                <c:pt idx="46">
                  <c:v>429.55656492761926</c:v>
                </c:pt>
                <c:pt idx="47">
                  <c:v>432.80655076188037</c:v>
                </c:pt>
                <c:pt idx="48">
                  <c:v>435.90619443532211</c:v>
                </c:pt>
                <c:pt idx="49">
                  <c:v>438.86228610139085</c:v>
                </c:pt>
                <c:pt idx="50">
                  <c:v>441.6777237118859</c:v>
                </c:pt>
                <c:pt idx="51">
                  <c:v>444.35973282932508</c:v>
                </c:pt>
                <c:pt idx="52">
                  <c:v>446.91813275506269</c:v>
                </c:pt>
                <c:pt idx="53">
                  <c:v>449.36040090071629</c:v>
                </c:pt>
                <c:pt idx="54">
                  <c:v>451.68942368913395</c:v>
                </c:pt>
                <c:pt idx="55">
                  <c:v>453.91116374512194</c:v>
                </c:pt>
                <c:pt idx="56">
                  <c:v>456.03087541377732</c:v>
                </c:pt>
                <c:pt idx="57">
                  <c:v>458.05341511355209</c:v>
                </c:pt>
                <c:pt idx="58">
                  <c:v>459.98338236778886</c:v>
                </c:pt>
                <c:pt idx="59">
                  <c:v>461.82577914350088</c:v>
                </c:pt>
                <c:pt idx="60">
                  <c:v>463.58496679132418</c:v>
                </c:pt>
                <c:pt idx="61">
                  <c:v>465.26494962128208</c:v>
                </c:pt>
                <c:pt idx="62">
                  <c:v>466.87024161459135</c:v>
                </c:pt>
                <c:pt idx="63">
                  <c:v>468.40409867029615</c:v>
                </c:pt>
                <c:pt idx="64">
                  <c:v>469.8705715784393</c:v>
                </c:pt>
                <c:pt idx="65">
                  <c:v>471.27257254389224</c:v>
                </c:pt>
                <c:pt idx="66">
                  <c:v>472.613916556208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BFC-4864-9A26-E6330A9DAD68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27.89969664335132</c:v>
                </c:pt>
                <c:pt idx="27">
                  <c:v>334.70941728636291</c:v>
                </c:pt>
                <c:pt idx="28">
                  <c:v>341.43519645470008</c:v>
                </c:pt>
                <c:pt idx="29">
                  <c:v>348.03080683783747</c:v>
                </c:pt>
                <c:pt idx="30">
                  <c:v>354.52230986147782</c:v>
                </c:pt>
                <c:pt idx="31">
                  <c:v>360.98922700944473</c:v>
                </c:pt>
                <c:pt idx="32">
                  <c:v>367.41793960387497</c:v>
                </c:pt>
                <c:pt idx="33">
                  <c:v>373.78706660508243</c:v>
                </c:pt>
                <c:pt idx="34">
                  <c:v>380.08473721928033</c:v>
                </c:pt>
                <c:pt idx="35">
                  <c:v>386.30323544543904</c:v>
                </c:pt>
                <c:pt idx="36">
                  <c:v>392.42223357315896</c:v>
                </c:pt>
                <c:pt idx="37">
                  <c:v>398.44308161913784</c:v>
                </c:pt>
                <c:pt idx="38">
                  <c:v>404.36110547136155</c:v>
                </c:pt>
                <c:pt idx="39">
                  <c:v>410.16477520769422</c:v>
                </c:pt>
                <c:pt idx="40">
                  <c:v>415.83964188591972</c:v>
                </c:pt>
                <c:pt idx="41">
                  <c:v>421.37587533142352</c:v>
                </c:pt>
                <c:pt idx="42">
                  <c:v>426.76940277915423</c:v>
                </c:pt>
                <c:pt idx="43">
                  <c:v>432.02306982623566</c:v>
                </c:pt>
                <c:pt idx="44">
                  <c:v>437.1401452524745</c:v>
                </c:pt>
                <c:pt idx="45">
                  <c:v>442.13153775223515</c:v>
                </c:pt>
                <c:pt idx="46">
                  <c:v>446.99619950693528</c:v>
                </c:pt>
                <c:pt idx="47">
                  <c:v>451.73070582054891</c:v>
                </c:pt>
                <c:pt idx="48">
                  <c:v>456.34020227854717</c:v>
                </c:pt>
                <c:pt idx="49">
                  <c:v>460.82912582809331</c:v>
                </c:pt>
                <c:pt idx="50">
                  <c:v>465.19588514128827</c:v>
                </c:pt>
                <c:pt idx="51">
                  <c:v>469.44459617491145</c:v>
                </c:pt>
                <c:pt idx="52">
                  <c:v>473.58185677438985</c:v>
                </c:pt>
                <c:pt idx="53">
                  <c:v>477.61203723479525</c:v>
                </c:pt>
                <c:pt idx="54">
                  <c:v>481.53499419162858</c:v>
                </c:pt>
                <c:pt idx="55">
                  <c:v>485.35428435240721</c:v>
                </c:pt>
                <c:pt idx="56">
                  <c:v>489.07255423893065</c:v>
                </c:pt>
                <c:pt idx="57">
                  <c:v>492.69267266438237</c:v>
                </c:pt>
                <c:pt idx="58">
                  <c:v>496.21692503319383</c:v>
                </c:pt>
                <c:pt idx="59">
                  <c:v>499.64862572621962</c:v>
                </c:pt>
                <c:pt idx="60">
                  <c:v>502.99002048078148</c:v>
                </c:pt>
                <c:pt idx="61">
                  <c:v>506.24432173625843</c:v>
                </c:pt>
                <c:pt idx="62">
                  <c:v>509.41369588050293</c:v>
                </c:pt>
                <c:pt idx="63">
                  <c:v>512.50070132329995</c:v>
                </c:pt>
                <c:pt idx="64">
                  <c:v>515.50784849006493</c:v>
                </c:pt>
                <c:pt idx="65">
                  <c:v>518.43705713212489</c:v>
                </c:pt>
                <c:pt idx="66">
                  <c:v>521.290620377043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FC-4864-9A26-E6330A9DAD68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27.98389990393963</c:v>
                </c:pt>
                <c:pt idx="27">
                  <c:v>334.95485860034455</c:v>
                </c:pt>
                <c:pt idx="28">
                  <c:v>341.90839349117624</c:v>
                </c:pt>
                <c:pt idx="29">
                  <c:v>348.79070008019465</c:v>
                </c:pt>
                <c:pt idx="30">
                  <c:v>355.64277158802781</c:v>
                </c:pt>
                <c:pt idx="31">
                  <c:v>362.55713043589014</c:v>
                </c:pt>
                <c:pt idx="32">
                  <c:v>369.53498815380419</c:v>
                </c:pt>
                <c:pt idx="33">
                  <c:v>376.56470351681861</c:v>
                </c:pt>
                <c:pt idx="34">
                  <c:v>383.62570419177462</c:v>
                </c:pt>
                <c:pt idx="35">
                  <c:v>390.70574949003418</c:v>
                </c:pt>
                <c:pt idx="36">
                  <c:v>397.78750658920592</c:v>
                </c:pt>
                <c:pt idx="37">
                  <c:v>404.8780467671761</c:v>
                </c:pt>
                <c:pt idx="38">
                  <c:v>411.97278184004546</c:v>
                </c:pt>
                <c:pt idx="39">
                  <c:v>419.05687853315379</c:v>
                </c:pt>
                <c:pt idx="40">
                  <c:v>426.11225344192462</c:v>
                </c:pt>
                <c:pt idx="41">
                  <c:v>433.12334850167053</c:v>
                </c:pt>
                <c:pt idx="42">
                  <c:v>440.08283738476541</c:v>
                </c:pt>
                <c:pt idx="43">
                  <c:v>446.9927507822257</c:v>
                </c:pt>
                <c:pt idx="44">
                  <c:v>453.85541098140408</c:v>
                </c:pt>
                <c:pt idx="45">
                  <c:v>460.67775213676862</c:v>
                </c:pt>
                <c:pt idx="46">
                  <c:v>467.45326553702415</c:v>
                </c:pt>
                <c:pt idx="47">
                  <c:v>474.17497437265752</c:v>
                </c:pt>
                <c:pt idx="48">
                  <c:v>480.84631255817737</c:v>
                </c:pt>
                <c:pt idx="49">
                  <c:v>487.46783189413179</c:v>
                </c:pt>
                <c:pt idx="50">
                  <c:v>494.03629346456796</c:v>
                </c:pt>
                <c:pt idx="51">
                  <c:v>500.55191526635548</c:v>
                </c:pt>
                <c:pt idx="52">
                  <c:v>507.01875153086951</c:v>
                </c:pt>
                <c:pt idx="53">
                  <c:v>513.43777275801324</c:v>
                </c:pt>
                <c:pt idx="54">
                  <c:v>519.80601816330363</c:v>
                </c:pt>
                <c:pt idx="55">
                  <c:v>526.12589922268921</c:v>
                </c:pt>
                <c:pt idx="56">
                  <c:v>532.39669109032502</c:v>
                </c:pt>
                <c:pt idx="57">
                  <c:v>538.6185243563574</c:v>
                </c:pt>
                <c:pt idx="58">
                  <c:v>544.7923594714498</c:v>
                </c:pt>
                <c:pt idx="59">
                  <c:v>550.91740312951379</c:v>
                </c:pt>
                <c:pt idx="60">
                  <c:v>556.9949126491955</c:v>
                </c:pt>
                <c:pt idx="61">
                  <c:v>563.02539245892865</c:v>
                </c:pt>
                <c:pt idx="62">
                  <c:v>569.009200762506</c:v>
                </c:pt>
                <c:pt idx="63">
                  <c:v>574.94666287330426</c:v>
                </c:pt>
                <c:pt idx="64">
                  <c:v>580.8381119644913</c:v>
                </c:pt>
                <c:pt idx="65">
                  <c:v>586.68441834252064</c:v>
                </c:pt>
                <c:pt idx="66">
                  <c:v>592.48539825020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BFC-4864-9A26-E6330A9DAD6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328.11052618131367</c:v>
                </c:pt>
                <c:pt idx="27">
                  <c:v>335.32409966348172</c:v>
                </c:pt>
                <c:pt idx="28">
                  <c:v>342.61991354775273</c:v>
                </c:pt>
                <c:pt idx="29">
                  <c:v>349.93265935807113</c:v>
                </c:pt>
                <c:pt idx="30">
                  <c:v>357.33462900749811</c:v>
                </c:pt>
                <c:pt idx="31">
                  <c:v>364.94449968204265</c:v>
                </c:pt>
                <c:pt idx="32">
                  <c:v>372.79146846242816</c:v>
                </c:pt>
                <c:pt idx="33">
                  <c:v>380.88463883086087</c:v>
                </c:pt>
                <c:pt idx="34">
                  <c:v>389.19153143732734</c:v>
                </c:pt>
                <c:pt idx="35">
                  <c:v>397.69908693423457</c:v>
                </c:pt>
                <c:pt idx="36">
                  <c:v>406.40186296090104</c:v>
                </c:pt>
                <c:pt idx="37">
                  <c:v>415.32706825277086</c:v>
                </c:pt>
                <c:pt idx="38">
                  <c:v>424.48054484847347</c:v>
                </c:pt>
                <c:pt idx="39">
                  <c:v>433.84882014685815</c:v>
                </c:pt>
                <c:pt idx="40">
                  <c:v>443.41149559424861</c:v>
                </c:pt>
                <c:pt idx="41">
                  <c:v>453.15249525022739</c:v>
                </c:pt>
                <c:pt idx="42">
                  <c:v>463.07161794245508</c:v>
                </c:pt>
                <c:pt idx="43">
                  <c:v>473.17913233611932</c:v>
                </c:pt>
                <c:pt idx="44">
                  <c:v>483.48326565524343</c:v>
                </c:pt>
                <c:pt idx="45">
                  <c:v>493.99128932449952</c:v>
                </c:pt>
                <c:pt idx="46">
                  <c:v>504.69742544746492</c:v>
                </c:pt>
                <c:pt idx="47">
                  <c:v>515.59558541415413</c:v>
                </c:pt>
                <c:pt idx="48">
                  <c:v>526.69418108983837</c:v>
                </c:pt>
                <c:pt idx="49">
                  <c:v>538.00035007119732</c:v>
                </c:pt>
                <c:pt idx="50">
                  <c:v>549.51407447798113</c:v>
                </c:pt>
                <c:pt idx="51">
                  <c:v>561.23761891676077</c:v>
                </c:pt>
                <c:pt idx="52">
                  <c:v>573.17594182931623</c:v>
                </c:pt>
                <c:pt idx="53">
                  <c:v>585.33351590974553</c:v>
                </c:pt>
                <c:pt idx="54">
                  <c:v>597.71227024025529</c:v>
                </c:pt>
                <c:pt idx="55">
                  <c:v>610.31861934427525</c:v>
                </c:pt>
                <c:pt idx="56">
                  <c:v>623.15547584894421</c:v>
                </c:pt>
                <c:pt idx="57">
                  <c:v>636.22571290476026</c:v>
                </c:pt>
                <c:pt idx="58">
                  <c:v>649.5327157070484</c:v>
                </c:pt>
                <c:pt idx="59">
                  <c:v>663.08108151805504</c:v>
                </c:pt>
                <c:pt idx="60">
                  <c:v>676.87528232084753</c:v>
                </c:pt>
                <c:pt idx="61">
                  <c:v>690.9198923359337</c:v>
                </c:pt>
                <c:pt idx="62">
                  <c:v>705.21946062857785</c:v>
                </c:pt>
                <c:pt idx="63">
                  <c:v>719.77804137632688</c:v>
                </c:pt>
                <c:pt idx="64">
                  <c:v>734.60012276077509</c:v>
                </c:pt>
                <c:pt idx="65">
                  <c:v>749.69036398957087</c:v>
                </c:pt>
                <c:pt idx="66">
                  <c:v>765.053470394654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</c:v>
                </c:pt>
                <c:pt idx="1">
                  <c:v>11</c:v>
                </c:pt>
                <c:pt idx="2">
                  <c:v>18</c:v>
                </c:pt>
                <c:pt idx="3">
                  <c:v>19</c:v>
                </c:pt>
                <c:pt idx="4">
                  <c:v>27</c:v>
                </c:pt>
                <c:pt idx="5">
                  <c:v>33</c:v>
                </c:pt>
                <c:pt idx="6">
                  <c:v>43</c:v>
                </c:pt>
                <c:pt idx="7">
                  <c:v>50</c:v>
                </c:pt>
                <c:pt idx="8">
                  <c:v>56</c:v>
                </c:pt>
                <c:pt idx="9">
                  <c:v>61</c:v>
                </c:pt>
                <c:pt idx="10">
                  <c:v>68</c:v>
                </c:pt>
                <c:pt idx="11">
                  <c:v>72</c:v>
                </c:pt>
                <c:pt idx="12">
                  <c:v>77</c:v>
                </c:pt>
                <c:pt idx="13">
                  <c:v>85</c:v>
                </c:pt>
                <c:pt idx="14">
                  <c:v>92</c:v>
                </c:pt>
                <c:pt idx="15">
                  <c:v>101</c:v>
                </c:pt>
                <c:pt idx="16">
                  <c:v>104</c:v>
                </c:pt>
                <c:pt idx="17">
                  <c:v>112</c:v>
                </c:pt>
                <c:pt idx="18">
                  <c:v>113</c:v>
                </c:pt>
                <c:pt idx="19">
                  <c:v>117</c:v>
                </c:pt>
                <c:pt idx="20">
                  <c:v>126</c:v>
                </c:pt>
                <c:pt idx="21">
                  <c:v>129</c:v>
                </c:pt>
                <c:pt idx="22">
                  <c:v>134</c:v>
                </c:pt>
                <c:pt idx="23">
                  <c:v>137</c:v>
                </c:pt>
                <c:pt idx="24">
                  <c:v>141</c:v>
                </c:pt>
                <c:pt idx="25">
                  <c:v>143</c:v>
                </c:pt>
                <c:pt idx="26">
                  <c:v>144</c:v>
                </c:pt>
                <c:pt idx="27">
                  <c:v>152</c:v>
                </c:pt>
                <c:pt idx="28">
                  <c:v>158</c:v>
                </c:pt>
                <c:pt idx="29">
                  <c:v>161</c:v>
                </c:pt>
                <c:pt idx="30">
                  <c:v>162</c:v>
                </c:pt>
                <c:pt idx="31">
                  <c:v>162</c:v>
                </c:pt>
                <c:pt idx="32">
                  <c:v>166</c:v>
                </c:pt>
                <c:pt idx="33">
                  <c:v>168</c:v>
                </c:pt>
                <c:pt idx="34">
                  <c:v>170</c:v>
                </c:pt>
                <c:pt idx="35">
                  <c:v>171</c:v>
                </c:pt>
                <c:pt idx="36">
                  <c:v>175</c:v>
                </c:pt>
                <c:pt idx="37">
                  <c:v>175</c:v>
                </c:pt>
                <c:pt idx="38">
                  <c:v>176</c:v>
                </c:pt>
                <c:pt idx="39">
                  <c:v>178</c:v>
                </c:pt>
                <c:pt idx="40">
                  <c:v>179</c:v>
                </c:pt>
                <c:pt idx="41">
                  <c:v>184</c:v>
                </c:pt>
                <c:pt idx="42">
                  <c:v>185</c:v>
                </c:pt>
                <c:pt idx="43">
                  <c:v>187</c:v>
                </c:pt>
                <c:pt idx="44">
                  <c:v>189</c:v>
                </c:pt>
                <c:pt idx="45">
                  <c:v>191</c:v>
                </c:pt>
                <c:pt idx="46">
                  <c:v>193</c:v>
                </c:pt>
                <c:pt idx="47">
                  <c:v>194</c:v>
                </c:pt>
                <c:pt idx="48">
                  <c:v>196</c:v>
                </c:pt>
                <c:pt idx="49">
                  <c:v>198</c:v>
                </c:pt>
                <c:pt idx="50">
                  <c:v>199</c:v>
                </c:pt>
                <c:pt idx="51">
                  <c:v>201</c:v>
                </c:pt>
                <c:pt idx="52">
                  <c:v>201</c:v>
                </c:pt>
                <c:pt idx="53">
                  <c:v>201</c:v>
                </c:pt>
                <c:pt idx="54">
                  <c:v>201</c:v>
                </c:pt>
                <c:pt idx="55">
                  <c:v>202</c:v>
                </c:pt>
                <c:pt idx="56">
                  <c:v>202</c:v>
                </c:pt>
                <c:pt idx="57">
                  <c:v>202</c:v>
                </c:pt>
                <c:pt idx="58">
                  <c:v>203</c:v>
                </c:pt>
                <c:pt idx="59">
                  <c:v>203</c:v>
                </c:pt>
                <c:pt idx="60">
                  <c:v>203</c:v>
                </c:pt>
                <c:pt idx="61">
                  <c:v>204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46.24228262188402</c:v>
                </c:pt>
                <c:pt idx="27">
                  <c:v>149.40027391938466</c:v>
                </c:pt>
                <c:pt idx="28">
                  <c:v>152.48618422100665</c:v>
                </c:pt>
                <c:pt idx="29">
                  <c:v>155.4843851747749</c:v>
                </c:pt>
                <c:pt idx="30">
                  <c:v>158.40000364274678</c:v>
                </c:pt>
                <c:pt idx="31">
                  <c:v>161.26541939958415</c:v>
                </c:pt>
                <c:pt idx="32">
                  <c:v>164.06815937845914</c:v>
                </c:pt>
                <c:pt idx="33">
                  <c:v>166.79537272661213</c:v>
                </c:pt>
                <c:pt idx="34">
                  <c:v>169.44452720381133</c:v>
                </c:pt>
                <c:pt idx="35">
                  <c:v>172.01600830083893</c:v>
                </c:pt>
                <c:pt idx="36">
                  <c:v>174.50225787484325</c:v>
                </c:pt>
                <c:pt idx="37">
                  <c:v>176.90295176784468</c:v>
                </c:pt>
                <c:pt idx="38">
                  <c:v>179.21770733888479</c:v>
                </c:pt>
                <c:pt idx="39">
                  <c:v>181.44308283560005</c:v>
                </c:pt>
                <c:pt idx="40">
                  <c:v>183.57637365495097</c:v>
                </c:pt>
                <c:pt idx="41">
                  <c:v>185.6162798715381</c:v>
                </c:pt>
                <c:pt idx="42">
                  <c:v>187.56308526464255</c:v>
                </c:pt>
                <c:pt idx="43">
                  <c:v>189.42059904734819</c:v>
                </c:pt>
                <c:pt idx="44">
                  <c:v>191.19188026583947</c:v>
                </c:pt>
                <c:pt idx="45">
                  <c:v>192.88485768057168</c:v>
                </c:pt>
                <c:pt idx="46">
                  <c:v>194.50096270749629</c:v>
                </c:pt>
                <c:pt idx="47">
                  <c:v>196.04057007242187</c:v>
                </c:pt>
                <c:pt idx="48">
                  <c:v>197.50870194436075</c:v>
                </c:pt>
                <c:pt idx="49">
                  <c:v>198.90891113232843</c:v>
                </c:pt>
                <c:pt idx="50">
                  <c:v>200.24257979892903</c:v>
                </c:pt>
                <c:pt idx="51">
                  <c:v>201.5129078347419</c:v>
                </c:pt>
                <c:pt idx="52">
                  <c:v>202.7246874088554</c:v>
                </c:pt>
                <c:pt idx="53">
                  <c:v>203.88173056245176</c:v>
                </c:pt>
                <c:pt idx="54">
                  <c:v>204.98515707147399</c:v>
                </c:pt>
                <c:pt idx="55">
                  <c:v>206.03767982646482</c:v>
                </c:pt>
                <c:pt idx="56">
                  <c:v>207.04186098923145</c:v>
                </c:pt>
                <c:pt idx="57">
                  <c:v>208.00001516344253</c:v>
                </c:pt>
                <c:pt idx="58">
                  <c:v>208.91431883850723</c:v>
                </c:pt>
                <c:pt idx="59">
                  <c:v>209.7871403402342</c:v>
                </c:pt>
                <c:pt idx="60">
                  <c:v>210.62054585982838</c:v>
                </c:pt>
                <c:pt idx="61">
                  <c:v>211.41643175396899</c:v>
                </c:pt>
                <c:pt idx="62">
                  <c:v>212.17693700119889</c:v>
                </c:pt>
                <c:pt idx="63">
                  <c:v>212.90360481588999</c:v>
                </c:pt>
                <c:pt idx="64">
                  <c:v>213.59835483711623</c:v>
                </c:pt>
                <c:pt idx="65">
                  <c:v>214.26256438099148</c:v>
                </c:pt>
                <c:pt idx="66">
                  <c:v>214.89804172051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27A-46DE-ACB9-C823BE3CB303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46.28276753890998</c:v>
                </c:pt>
                <c:pt idx="27">
                  <c:v>149.51790691327443</c:v>
                </c:pt>
                <c:pt idx="28">
                  <c:v>152.71268293885063</c:v>
                </c:pt>
                <c:pt idx="29">
                  <c:v>155.84790008214543</c:v>
                </c:pt>
                <c:pt idx="30">
                  <c:v>158.93395958936583</c:v>
                </c:pt>
                <c:pt idx="31">
                  <c:v>162.00744330377387</c:v>
                </c:pt>
                <c:pt idx="32">
                  <c:v>165.06090032046347</c:v>
                </c:pt>
                <c:pt idx="33">
                  <c:v>168.08485083957564</c:v>
                </c:pt>
                <c:pt idx="34">
                  <c:v>171.07236734252874</c:v>
                </c:pt>
                <c:pt idx="35">
                  <c:v>174.0211483245734</c:v>
                </c:pt>
                <c:pt idx="36">
                  <c:v>176.92253806582221</c:v>
                </c:pt>
                <c:pt idx="37">
                  <c:v>179.77642699257484</c:v>
                </c:pt>
                <c:pt idx="38">
                  <c:v>182.58146940218768</c:v>
                </c:pt>
                <c:pt idx="39">
                  <c:v>185.33181319957384</c:v>
                </c:pt>
                <c:pt idx="40">
                  <c:v>188.02111680874853</c:v>
                </c:pt>
                <c:pt idx="41">
                  <c:v>190.64457979686773</c:v>
                </c:pt>
                <c:pt idx="42">
                  <c:v>193.20063189396456</c:v>
                </c:pt>
                <c:pt idx="43">
                  <c:v>195.69083641581406</c:v>
                </c:pt>
                <c:pt idx="44">
                  <c:v>198.11594528263262</c:v>
                </c:pt>
                <c:pt idx="45">
                  <c:v>200.48151779285024</c:v>
                </c:pt>
                <c:pt idx="46">
                  <c:v>202.78719779025357</c:v>
                </c:pt>
                <c:pt idx="47">
                  <c:v>205.03095717053685</c:v>
                </c:pt>
                <c:pt idx="48">
                  <c:v>207.21519640047867</c:v>
                </c:pt>
                <c:pt idx="49">
                  <c:v>209.34236652530711</c:v>
                </c:pt>
                <c:pt idx="50">
                  <c:v>211.41173561675481</c:v>
                </c:pt>
                <c:pt idx="51">
                  <c:v>213.42502615270232</c:v>
                </c:pt>
                <c:pt idx="52">
                  <c:v>215.38549581726824</c:v>
                </c:pt>
                <c:pt idx="53">
                  <c:v>217.29548960679602</c:v>
                </c:pt>
                <c:pt idx="54">
                  <c:v>219.154706432598</c:v>
                </c:pt>
                <c:pt idx="55">
                  <c:v>220.96471609306292</c:v>
                </c:pt>
                <c:pt idx="56">
                  <c:v>222.72683736450739</c:v>
                </c:pt>
                <c:pt idx="57">
                  <c:v>224.44244670477053</c:v>
                </c:pt>
                <c:pt idx="58">
                  <c:v>226.11262535955305</c:v>
                </c:pt>
                <c:pt idx="59">
                  <c:v>227.73894458991316</c:v>
                </c:pt>
                <c:pt idx="60">
                  <c:v>229.32246954513141</c:v>
                </c:pt>
                <c:pt idx="61">
                  <c:v>230.86472334564723</c:v>
                </c:pt>
                <c:pt idx="62">
                  <c:v>232.36673291324519</c:v>
                </c:pt>
                <c:pt idx="63">
                  <c:v>233.82970861423229</c:v>
                </c:pt>
                <c:pt idx="64">
                  <c:v>235.25484303985775</c:v>
                </c:pt>
                <c:pt idx="65">
                  <c:v>236.64304306106163</c:v>
                </c:pt>
                <c:pt idx="66">
                  <c:v>237.995395100182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27A-46DE-ACB9-C823BE3CB303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46.322945752019</c:v>
                </c:pt>
                <c:pt idx="27">
                  <c:v>149.63512274508167</c:v>
                </c:pt>
                <c:pt idx="28">
                  <c:v>152.93867507638151</c:v>
                </c:pt>
                <c:pt idx="29">
                  <c:v>156.2108207038234</c:v>
                </c:pt>
                <c:pt idx="30">
                  <c:v>159.46907508881617</c:v>
                </c:pt>
                <c:pt idx="31">
                  <c:v>162.7561181780049</c:v>
                </c:pt>
                <c:pt idx="32">
                  <c:v>166.0714041416818</c:v>
                </c:pt>
                <c:pt idx="33">
                  <c:v>169.41005728542467</c:v>
                </c:pt>
                <c:pt idx="34">
                  <c:v>172.76097454557828</c:v>
                </c:pt>
                <c:pt idx="35">
                  <c:v>176.11960568699982</c:v>
                </c:pt>
                <c:pt idx="36">
                  <c:v>179.47874856600052</c:v>
                </c:pt>
                <c:pt idx="37">
                  <c:v>182.84109058498555</c:v>
                </c:pt>
                <c:pt idx="38">
                  <c:v>186.20528064933262</c:v>
                </c:pt>
                <c:pt idx="39">
                  <c:v>189.56390937915998</c:v>
                </c:pt>
                <c:pt idx="40">
                  <c:v>192.90886222835232</c:v>
                </c:pt>
                <c:pt idx="41">
                  <c:v>196.23267191113118</c:v>
                </c:pt>
                <c:pt idx="42">
                  <c:v>199.53223442390677</c:v>
                </c:pt>
                <c:pt idx="43">
                  <c:v>202.80873799175308</c:v>
                </c:pt>
                <c:pt idx="44">
                  <c:v>206.06249211624146</c:v>
                </c:pt>
                <c:pt idx="45">
                  <c:v>209.29713449070394</c:v>
                </c:pt>
                <c:pt idx="46">
                  <c:v>212.50972042189198</c:v>
                </c:pt>
                <c:pt idx="47">
                  <c:v>215.69653446980925</c:v>
                </c:pt>
                <c:pt idx="48">
                  <c:v>218.85918169006621</c:v>
                </c:pt>
                <c:pt idx="49">
                  <c:v>221.99827071371021</c:v>
                </c:pt>
                <c:pt idx="50">
                  <c:v>225.11229724990432</c:v>
                </c:pt>
                <c:pt idx="51">
                  <c:v>228.20113759548605</c:v>
                </c:pt>
                <c:pt idx="52">
                  <c:v>231.26683325782346</c:v>
                </c:pt>
                <c:pt idx="53">
                  <c:v>234.31011987309211</c:v>
                </c:pt>
                <c:pt idx="54">
                  <c:v>237.32937538871008</c:v>
                </c:pt>
                <c:pt idx="55">
                  <c:v>240.32563233954164</c:v>
                </c:pt>
                <c:pt idx="56">
                  <c:v>243.2985999655935</c:v>
                </c:pt>
                <c:pt idx="57">
                  <c:v>246.24835127847686</c:v>
                </c:pt>
                <c:pt idx="58">
                  <c:v>249.17534777452141</c:v>
                </c:pt>
                <c:pt idx="59">
                  <c:v>252.07921174943485</c:v>
                </c:pt>
                <c:pt idx="60">
                  <c:v>254.96054168643519</c:v>
                </c:pt>
                <c:pt idx="61">
                  <c:v>257.81957949116594</c:v>
                </c:pt>
                <c:pt idx="62">
                  <c:v>260.65648978671095</c:v>
                </c:pt>
                <c:pt idx="63">
                  <c:v>263.47142579112199</c:v>
                </c:pt>
                <c:pt idx="64">
                  <c:v>266.26454556170859</c:v>
                </c:pt>
                <c:pt idx="65">
                  <c:v>269.03626627593189</c:v>
                </c:pt>
                <c:pt idx="66">
                  <c:v>271.78649926707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27A-46DE-ACB9-C823BE3CB30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46.38336642364135</c:v>
                </c:pt>
                <c:pt idx="27">
                  <c:v>149.81146177775094</c:v>
                </c:pt>
                <c:pt idx="28">
                  <c:v>153.27848708687526</c:v>
                </c:pt>
                <c:pt idx="29">
                  <c:v>156.7562139405407</c:v>
                </c:pt>
                <c:pt idx="30">
                  <c:v>160.27707675205295</c:v>
                </c:pt>
                <c:pt idx="31">
                  <c:v>163.89608750083593</c:v>
                </c:pt>
                <c:pt idx="32">
                  <c:v>167.62579424411115</c:v>
                </c:pt>
                <c:pt idx="33">
                  <c:v>171.47115817378753</c:v>
                </c:pt>
                <c:pt idx="34">
                  <c:v>175.41536301096676</c:v>
                </c:pt>
                <c:pt idx="35">
                  <c:v>179.45331618016888</c:v>
                </c:pt>
                <c:pt idx="36">
                  <c:v>183.58350514980941</c:v>
                </c:pt>
                <c:pt idx="37">
                  <c:v>187.81829782512204</c:v>
                </c:pt>
                <c:pt idx="38">
                  <c:v>192.16122342725049</c:v>
                </c:pt>
                <c:pt idx="39">
                  <c:v>196.60551728207287</c:v>
                </c:pt>
                <c:pt idx="40">
                  <c:v>201.14187802815658</c:v>
                </c:pt>
                <c:pt idx="41">
                  <c:v>205.76267035563001</c:v>
                </c:pt>
                <c:pt idx="42">
                  <c:v>210.46819512830265</c:v>
                </c:pt>
                <c:pt idx="43">
                  <c:v>215.26356757861305</c:v>
                </c:pt>
                <c:pt idx="44">
                  <c:v>220.15189143632298</c:v>
                </c:pt>
                <c:pt idx="45">
                  <c:v>225.13690375131324</c:v>
                </c:pt>
                <c:pt idx="46">
                  <c:v>230.2160166733446</c:v>
                </c:pt>
                <c:pt idx="47">
                  <c:v>235.3859241579502</c:v>
                </c:pt>
                <c:pt idx="48">
                  <c:v>240.65061411558884</c:v>
                </c:pt>
                <c:pt idx="49">
                  <c:v>246.01383085564748</c:v>
                </c:pt>
                <c:pt idx="50">
                  <c:v>251.47560660555365</c:v>
                </c:pt>
                <c:pt idx="51">
                  <c:v>257.03677571990403</c:v>
                </c:pt>
                <c:pt idx="52">
                  <c:v>262.69978907839959</c:v>
                </c:pt>
                <c:pt idx="53">
                  <c:v>268.46705444666668</c:v>
                </c:pt>
                <c:pt idx="54">
                  <c:v>274.33929933772413</c:v>
                </c:pt>
                <c:pt idx="55">
                  <c:v>280.31945049361065</c:v>
                </c:pt>
                <c:pt idx="56">
                  <c:v>286.40892380035194</c:v>
                </c:pt>
                <c:pt idx="57">
                  <c:v>292.60909120405012</c:v>
                </c:pt>
                <c:pt idx="58">
                  <c:v>298.9215647022196</c:v>
                </c:pt>
                <c:pt idx="59">
                  <c:v>305.34853389671264</c:v>
                </c:pt>
                <c:pt idx="60">
                  <c:v>311.89212601640645</c:v>
                </c:pt>
                <c:pt idx="61">
                  <c:v>318.55451201863235</c:v>
                </c:pt>
                <c:pt idx="62">
                  <c:v>325.33784087725957</c:v>
                </c:pt>
                <c:pt idx="63">
                  <c:v>332.24402924547906</c:v>
                </c:pt>
                <c:pt idx="64">
                  <c:v>339.27520987969046</c:v>
                </c:pt>
                <c:pt idx="65">
                  <c:v>346.43359862711941</c:v>
                </c:pt>
                <c:pt idx="66">
                  <c:v>353.721429935643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10</c:v>
                </c:pt>
                <c:pt idx="2">
                  <c:v>11</c:v>
                </c:pt>
                <c:pt idx="3">
                  <c:v>17</c:v>
                </c:pt>
                <c:pt idx="4">
                  <c:v>23</c:v>
                </c:pt>
                <c:pt idx="5">
                  <c:v>31</c:v>
                </c:pt>
                <c:pt idx="6">
                  <c:v>36</c:v>
                </c:pt>
                <c:pt idx="7">
                  <c:v>44</c:v>
                </c:pt>
                <c:pt idx="8">
                  <c:v>52</c:v>
                </c:pt>
                <c:pt idx="9">
                  <c:v>53</c:v>
                </c:pt>
                <c:pt idx="10">
                  <c:v>62</c:v>
                </c:pt>
                <c:pt idx="11">
                  <c:v>64</c:v>
                </c:pt>
                <c:pt idx="12">
                  <c:v>70</c:v>
                </c:pt>
                <c:pt idx="13">
                  <c:v>81</c:v>
                </c:pt>
                <c:pt idx="14">
                  <c:v>87</c:v>
                </c:pt>
                <c:pt idx="15">
                  <c:v>91</c:v>
                </c:pt>
                <c:pt idx="16">
                  <c:v>92</c:v>
                </c:pt>
                <c:pt idx="17">
                  <c:v>95</c:v>
                </c:pt>
                <c:pt idx="18">
                  <c:v>102</c:v>
                </c:pt>
                <c:pt idx="19">
                  <c:v>108</c:v>
                </c:pt>
                <c:pt idx="20">
                  <c:v>112</c:v>
                </c:pt>
                <c:pt idx="21">
                  <c:v>119</c:v>
                </c:pt>
                <c:pt idx="22">
                  <c:v>124</c:v>
                </c:pt>
                <c:pt idx="23">
                  <c:v>130</c:v>
                </c:pt>
                <c:pt idx="24">
                  <c:v>136</c:v>
                </c:pt>
                <c:pt idx="25">
                  <c:v>142</c:v>
                </c:pt>
                <c:pt idx="26">
                  <c:v>146</c:v>
                </c:pt>
                <c:pt idx="27">
                  <c:v>151</c:v>
                </c:pt>
                <c:pt idx="28">
                  <c:v>152</c:v>
                </c:pt>
                <c:pt idx="29">
                  <c:v>155</c:v>
                </c:pt>
                <c:pt idx="30">
                  <c:v>158</c:v>
                </c:pt>
                <c:pt idx="31">
                  <c:v>160</c:v>
                </c:pt>
                <c:pt idx="32">
                  <c:v>164</c:v>
                </c:pt>
                <c:pt idx="33">
                  <c:v>167</c:v>
                </c:pt>
                <c:pt idx="34">
                  <c:v>168</c:v>
                </c:pt>
                <c:pt idx="35">
                  <c:v>168</c:v>
                </c:pt>
                <c:pt idx="36">
                  <c:v>170</c:v>
                </c:pt>
                <c:pt idx="37">
                  <c:v>172</c:v>
                </c:pt>
                <c:pt idx="38">
                  <c:v>175</c:v>
                </c:pt>
                <c:pt idx="39">
                  <c:v>177</c:v>
                </c:pt>
                <c:pt idx="40">
                  <c:v>181</c:v>
                </c:pt>
                <c:pt idx="41">
                  <c:v>181</c:v>
                </c:pt>
                <c:pt idx="42">
                  <c:v>185</c:v>
                </c:pt>
                <c:pt idx="43">
                  <c:v>186</c:v>
                </c:pt>
                <c:pt idx="44">
                  <c:v>188</c:v>
                </c:pt>
                <c:pt idx="45">
                  <c:v>188</c:v>
                </c:pt>
                <c:pt idx="46">
                  <c:v>188</c:v>
                </c:pt>
                <c:pt idx="47">
                  <c:v>190</c:v>
                </c:pt>
                <c:pt idx="48">
                  <c:v>194</c:v>
                </c:pt>
                <c:pt idx="49">
                  <c:v>195</c:v>
                </c:pt>
                <c:pt idx="50">
                  <c:v>198</c:v>
                </c:pt>
                <c:pt idx="51">
                  <c:v>199</c:v>
                </c:pt>
                <c:pt idx="52">
                  <c:v>200</c:v>
                </c:pt>
                <c:pt idx="53">
                  <c:v>200</c:v>
                </c:pt>
                <c:pt idx="54">
                  <c:v>202</c:v>
                </c:pt>
                <c:pt idx="55">
                  <c:v>204</c:v>
                </c:pt>
                <c:pt idx="56">
                  <c:v>205</c:v>
                </c:pt>
                <c:pt idx="57">
                  <c:v>205</c:v>
                </c:pt>
                <c:pt idx="58">
                  <c:v>205</c:v>
                </c:pt>
                <c:pt idx="59">
                  <c:v>205</c:v>
                </c:pt>
                <c:pt idx="60">
                  <c:v>205</c:v>
                </c:pt>
                <c:pt idx="61">
                  <c:v>206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44.86078941771405</c:v>
                </c:pt>
                <c:pt idx="27">
                  <c:v>148.61834977964534</c:v>
                </c:pt>
                <c:pt idx="28">
                  <c:v>152.2897848509933</c:v>
                </c:pt>
                <c:pt idx="29">
                  <c:v>155.85806332687369</c:v>
                </c:pt>
                <c:pt idx="30">
                  <c:v>159.32815250353448</c:v>
                </c:pt>
                <c:pt idx="31">
                  <c:v>162.73795343401403</c:v>
                </c:pt>
                <c:pt idx="32">
                  <c:v>166.0721504275385</c:v>
                </c:pt>
                <c:pt idx="33">
                  <c:v>169.31585420001221</c:v>
                </c:pt>
                <c:pt idx="34">
                  <c:v>172.4653428764519</c:v>
                </c:pt>
                <c:pt idx="35">
                  <c:v>175.52190516302105</c:v>
                </c:pt>
                <c:pt idx="36">
                  <c:v>178.4770980779648</c:v>
                </c:pt>
                <c:pt idx="37">
                  <c:v>181.33006269578777</c:v>
                </c:pt>
                <c:pt idx="38">
                  <c:v>184.08086044704788</c:v>
                </c:pt>
                <c:pt idx="39">
                  <c:v>186.72516703695726</c:v>
                </c:pt>
                <c:pt idx="40">
                  <c:v>189.26008860467269</c:v>
                </c:pt>
                <c:pt idx="41">
                  <c:v>191.6839712683219</c:v>
                </c:pt>
                <c:pt idx="42">
                  <c:v>193.99734535800559</c:v>
                </c:pt>
                <c:pt idx="43">
                  <c:v>196.20485694161124</c:v>
                </c:pt>
                <c:pt idx="44">
                  <c:v>198.30968803203228</c:v>
                </c:pt>
                <c:pt idx="45">
                  <c:v>200.32150104422306</c:v>
                </c:pt>
                <c:pt idx="46">
                  <c:v>202.24206798111783</c:v>
                </c:pt>
                <c:pt idx="47">
                  <c:v>204.07160785591802</c:v>
                </c:pt>
                <c:pt idx="48">
                  <c:v>205.81606714127793</c:v>
                </c:pt>
                <c:pt idx="49">
                  <c:v>207.47985952777512</c:v>
                </c:pt>
                <c:pt idx="50">
                  <c:v>209.06463278214025</c:v>
                </c:pt>
                <c:pt idx="51">
                  <c:v>210.57406208458571</c:v>
                </c:pt>
                <c:pt idx="52">
                  <c:v>212.01392222873375</c:v>
                </c:pt>
                <c:pt idx="53">
                  <c:v>213.38889709345571</c:v>
                </c:pt>
                <c:pt idx="54">
                  <c:v>214.70017601749527</c:v>
                </c:pt>
                <c:pt idx="55">
                  <c:v>215.95091898447905</c:v>
                </c:pt>
                <c:pt idx="56">
                  <c:v>217.1442123335043</c:v>
                </c:pt>
                <c:pt idx="57">
                  <c:v>218.282814526321</c:v>
                </c:pt>
                <c:pt idx="58">
                  <c:v>219.36931053253119</c:v>
                </c:pt>
                <c:pt idx="59">
                  <c:v>220.40651396186684</c:v>
                </c:pt>
                <c:pt idx="60">
                  <c:v>221.39688015913859</c:v>
                </c:pt>
                <c:pt idx="61">
                  <c:v>222.34266225567774</c:v>
                </c:pt>
                <c:pt idx="62">
                  <c:v>223.24640236575419</c:v>
                </c:pt>
                <c:pt idx="63">
                  <c:v>224.10993477536039</c:v>
                </c:pt>
                <c:pt idx="64">
                  <c:v>224.93554100377921</c:v>
                </c:pt>
                <c:pt idx="65">
                  <c:v>225.7248564391636</c:v>
                </c:pt>
                <c:pt idx="66">
                  <c:v>226.48003045624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790-44C1-9DF6-E8F421A89F3A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44.90906437855355</c:v>
                </c:pt>
                <c:pt idx="27">
                  <c:v>148.7586755811092</c:v>
                </c:pt>
                <c:pt idx="28">
                  <c:v>152.55998110703499</c:v>
                </c:pt>
                <c:pt idx="29">
                  <c:v>156.29171357708731</c:v>
                </c:pt>
                <c:pt idx="30">
                  <c:v>159.96512305988711</c:v>
                </c:pt>
                <c:pt idx="31">
                  <c:v>163.62305845874477</c:v>
                </c:pt>
                <c:pt idx="32">
                  <c:v>167.25609539792043</c:v>
                </c:pt>
                <c:pt idx="33">
                  <c:v>170.85333926286685</c:v>
                </c:pt>
                <c:pt idx="34">
                  <c:v>174.4058137682531</c:v>
                </c:pt>
                <c:pt idx="35">
                  <c:v>177.91155661339204</c:v>
                </c:pt>
                <c:pt idx="36">
                  <c:v>181.36083798265352</c:v>
                </c:pt>
                <c:pt idx="37">
                  <c:v>184.75310014112674</c:v>
                </c:pt>
                <c:pt idx="38">
                  <c:v>188.0872396606253</c:v>
                </c:pt>
                <c:pt idx="39">
                  <c:v>191.35607979532298</c:v>
                </c:pt>
                <c:pt idx="40">
                  <c:v>194.55237197906129</c:v>
                </c:pt>
                <c:pt idx="41">
                  <c:v>197.67032982176283</c:v>
                </c:pt>
                <c:pt idx="42">
                  <c:v>200.70829229468353</c:v>
                </c:pt>
                <c:pt idx="43">
                  <c:v>203.66823997236153</c:v>
                </c:pt>
                <c:pt idx="44">
                  <c:v>206.55061175131701</c:v>
                </c:pt>
                <c:pt idx="45">
                  <c:v>209.36223729622299</c:v>
                </c:pt>
                <c:pt idx="46">
                  <c:v>212.10277340835273</c:v>
                </c:pt>
                <c:pt idx="47">
                  <c:v>214.76957850382706</c:v>
                </c:pt>
                <c:pt idx="48">
                  <c:v>217.36548390034483</c:v>
                </c:pt>
                <c:pt idx="49">
                  <c:v>219.89360147260484</c:v>
                </c:pt>
                <c:pt idx="50">
                  <c:v>222.3530739728015</c:v>
                </c:pt>
                <c:pt idx="51">
                  <c:v>224.74581848999992</c:v>
                </c:pt>
                <c:pt idx="52">
                  <c:v>227.07578157499864</c:v>
                </c:pt>
                <c:pt idx="53">
                  <c:v>229.34590657987707</c:v>
                </c:pt>
                <c:pt idx="54">
                  <c:v>231.55570264197183</c:v>
                </c:pt>
                <c:pt idx="55">
                  <c:v>233.70696948236076</c:v>
                </c:pt>
                <c:pt idx="56">
                  <c:v>235.80131134652169</c:v>
                </c:pt>
                <c:pt idx="57">
                  <c:v>237.84037384430155</c:v>
                </c:pt>
                <c:pt idx="58">
                  <c:v>239.82544103070967</c:v>
                </c:pt>
                <c:pt idx="59">
                  <c:v>241.75838071538655</c:v>
                </c:pt>
                <c:pt idx="60">
                  <c:v>243.64045936376039</c:v>
                </c:pt>
                <c:pt idx="61">
                  <c:v>245.47348766587379</c:v>
                </c:pt>
                <c:pt idx="62">
                  <c:v>247.25868629699977</c:v>
                </c:pt>
                <c:pt idx="63">
                  <c:v>248.99749262864322</c:v>
                </c:pt>
                <c:pt idx="64">
                  <c:v>250.69132573862393</c:v>
                </c:pt>
                <c:pt idx="65">
                  <c:v>252.34126181056246</c:v>
                </c:pt>
                <c:pt idx="66">
                  <c:v>253.948591917274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90-44C1-9DF6-E8F421A89F3A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44.95697361999265</c:v>
                </c:pt>
                <c:pt idx="27">
                  <c:v>148.89850351102868</c:v>
                </c:pt>
                <c:pt idx="28">
                  <c:v>152.82957311575191</c:v>
                </c:pt>
                <c:pt idx="29">
                  <c:v>156.7246548687551</c:v>
                </c:pt>
                <c:pt idx="30">
                  <c:v>160.6034759527497</c:v>
                </c:pt>
                <c:pt idx="31">
                  <c:v>164.51609704665293</c:v>
                </c:pt>
                <c:pt idx="32">
                  <c:v>168.46123047128333</c:v>
                </c:pt>
                <c:pt idx="33">
                  <c:v>172.43344708694298</c:v>
                </c:pt>
                <c:pt idx="34">
                  <c:v>176.41877827307729</c:v>
                </c:pt>
                <c:pt idx="35">
                  <c:v>180.41252945295855</c:v>
                </c:pt>
                <c:pt idx="36">
                  <c:v>184.40671798828444</c:v>
                </c:pt>
                <c:pt idx="37">
                  <c:v>188.4041592917834</c:v>
                </c:pt>
                <c:pt idx="38">
                  <c:v>192.40371721902369</c:v>
                </c:pt>
                <c:pt idx="39">
                  <c:v>196.39636881751858</c:v>
                </c:pt>
                <c:pt idx="40">
                  <c:v>200.37272943753013</c:v>
                </c:pt>
                <c:pt idx="41">
                  <c:v>204.32387022357844</c:v>
                </c:pt>
                <c:pt idx="42">
                  <c:v>208.24631190612109</c:v>
                </c:pt>
                <c:pt idx="43">
                  <c:v>212.14159558425359</c:v>
                </c:pt>
                <c:pt idx="44">
                  <c:v>216.00963782326929</c:v>
                </c:pt>
                <c:pt idx="45">
                  <c:v>219.85496269520172</c:v>
                </c:pt>
                <c:pt idx="46">
                  <c:v>223.67415010994284</c:v>
                </c:pt>
                <c:pt idx="47">
                  <c:v>227.46255076931538</c:v>
                </c:pt>
                <c:pt idx="48">
                  <c:v>231.22205961121375</c:v>
                </c:pt>
                <c:pt idx="49">
                  <c:v>234.95359804812125</c:v>
                </c:pt>
                <c:pt idx="50">
                  <c:v>238.65539566999047</c:v>
                </c:pt>
                <c:pt idx="51">
                  <c:v>242.32717594187807</c:v>
                </c:pt>
                <c:pt idx="52">
                  <c:v>245.97143382216632</c:v>
                </c:pt>
                <c:pt idx="53">
                  <c:v>249.58920092867137</c:v>
                </c:pt>
                <c:pt idx="54">
                  <c:v>253.17842450945741</c:v>
                </c:pt>
                <c:pt idx="55">
                  <c:v>256.74026885107781</c:v>
                </c:pt>
                <c:pt idx="56">
                  <c:v>260.2744184692138</c:v>
                </c:pt>
                <c:pt idx="57">
                  <c:v>263.7809664867018</c:v>
                </c:pt>
                <c:pt idx="58">
                  <c:v>267.26046501915653</c:v>
                </c:pt>
                <c:pt idx="59">
                  <c:v>270.71246415395672</c:v>
                </c:pt>
                <c:pt idx="60">
                  <c:v>274.13767670868231</c:v>
                </c:pt>
                <c:pt idx="61">
                  <c:v>277.53639182386019</c:v>
                </c:pt>
                <c:pt idx="62">
                  <c:v>280.90880223142943</c:v>
                </c:pt>
                <c:pt idx="63">
                  <c:v>284.25508949386779</c:v>
                </c:pt>
                <c:pt idx="64">
                  <c:v>287.57544156105223</c:v>
                </c:pt>
                <c:pt idx="65">
                  <c:v>290.87035696203657</c:v>
                </c:pt>
                <c:pt idx="66">
                  <c:v>294.139729410536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790-44C1-9DF6-E8F421A89F3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45.02902034185189</c:v>
                </c:pt>
                <c:pt idx="27">
                  <c:v>149.10886006108069</c:v>
                </c:pt>
                <c:pt idx="28">
                  <c:v>153.23494398373407</c:v>
                </c:pt>
                <c:pt idx="29">
                  <c:v>157.37527446862623</c:v>
                </c:pt>
                <c:pt idx="30">
                  <c:v>161.56735957610124</c:v>
                </c:pt>
                <c:pt idx="31">
                  <c:v>165.87588112227837</c:v>
                </c:pt>
                <c:pt idx="32">
                  <c:v>170.31501771327538</c:v>
                </c:pt>
                <c:pt idx="33">
                  <c:v>174.8910349878654</c:v>
                </c:pt>
                <c:pt idx="34">
                  <c:v>179.58313382464817</c:v>
                </c:pt>
                <c:pt idx="35">
                  <c:v>184.38588698961397</c:v>
                </c:pt>
                <c:pt idx="36">
                  <c:v>189.29810530263694</c:v>
                </c:pt>
                <c:pt idx="37">
                  <c:v>194.3341880488988</c:v>
                </c:pt>
                <c:pt idx="38">
                  <c:v>199.49876376060561</c:v>
                </c:pt>
                <c:pt idx="39">
                  <c:v>204.78357566637641</c:v>
                </c:pt>
                <c:pt idx="40">
                  <c:v>210.17777740356001</c:v>
                </c:pt>
                <c:pt idx="41">
                  <c:v>215.67228457134479</c:v>
                </c:pt>
                <c:pt idx="42">
                  <c:v>221.26768078616581</c:v>
                </c:pt>
                <c:pt idx="43">
                  <c:v>226.97018762801329</c:v>
                </c:pt>
                <c:pt idx="44">
                  <c:v>232.7830403174712</c:v>
                </c:pt>
                <c:pt idx="45">
                  <c:v>238.71084651260483</c:v>
                </c:pt>
                <c:pt idx="46">
                  <c:v>244.75061623557784</c:v>
                </c:pt>
                <c:pt idx="47">
                  <c:v>250.89818019105624</c:v>
                </c:pt>
                <c:pt idx="48">
                  <c:v>257.15827897668402</c:v>
                </c:pt>
                <c:pt idx="49">
                  <c:v>263.53556920206205</c:v>
                </c:pt>
                <c:pt idx="50">
                  <c:v>270.03011239019725</c:v>
                </c:pt>
                <c:pt idx="51">
                  <c:v>276.64276393115193</c:v>
                </c:pt>
                <c:pt idx="52">
                  <c:v>283.37649441663086</c:v>
                </c:pt>
                <c:pt idx="53">
                  <c:v>290.23432992680819</c:v>
                </c:pt>
                <c:pt idx="54">
                  <c:v>297.21702862734662</c:v>
                </c:pt>
                <c:pt idx="55">
                  <c:v>304.32800449643798</c:v>
                </c:pt>
                <c:pt idx="56">
                  <c:v>311.56896065354937</c:v>
                </c:pt>
                <c:pt idx="57">
                  <c:v>318.94153359962399</c:v>
                </c:pt>
                <c:pt idx="58">
                  <c:v>326.44764365531523</c:v>
                </c:pt>
                <c:pt idx="59">
                  <c:v>334.089899466666</c:v>
                </c:pt>
                <c:pt idx="60">
                  <c:v>341.87083383464199</c:v>
                </c:pt>
                <c:pt idx="61">
                  <c:v>349.79302883867683</c:v>
                </c:pt>
                <c:pt idx="62">
                  <c:v>357.85903468972015</c:v>
                </c:pt>
                <c:pt idx="63">
                  <c:v>366.07112673896</c:v>
                </c:pt>
                <c:pt idx="64">
                  <c:v>374.4318431309672</c:v>
                </c:pt>
                <c:pt idx="65">
                  <c:v>382.94382193045624</c:v>
                </c:pt>
                <c:pt idx="66">
                  <c:v>391.609721450960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1</c:v>
                </c:pt>
                <c:pt idx="1">
                  <c:v>149</c:v>
                </c:pt>
                <c:pt idx="2">
                  <c:v>143</c:v>
                </c:pt>
                <c:pt idx="3">
                  <c:v>142</c:v>
                </c:pt>
                <c:pt idx="4">
                  <c:v>133</c:v>
                </c:pt>
                <c:pt idx="5">
                  <c:v>131</c:v>
                </c:pt>
                <c:pt idx="6">
                  <c:v>131</c:v>
                </c:pt>
                <c:pt idx="7">
                  <c:v>126</c:v>
                </c:pt>
                <c:pt idx="8">
                  <c:v>121</c:v>
                </c:pt>
                <c:pt idx="9">
                  <c:v>117</c:v>
                </c:pt>
                <c:pt idx="10">
                  <c:v>116</c:v>
                </c:pt>
                <c:pt idx="11">
                  <c:v>118</c:v>
                </c:pt>
                <c:pt idx="12">
                  <c:v>114</c:v>
                </c:pt>
                <c:pt idx="13">
                  <c:v>106</c:v>
                </c:pt>
                <c:pt idx="14">
                  <c:v>101</c:v>
                </c:pt>
                <c:pt idx="15">
                  <c:v>98</c:v>
                </c:pt>
                <c:pt idx="16">
                  <c:v>92</c:v>
                </c:pt>
                <c:pt idx="17">
                  <c:v>92</c:v>
                </c:pt>
                <c:pt idx="18">
                  <c:v>89</c:v>
                </c:pt>
                <c:pt idx="19">
                  <c:v>82</c:v>
                </c:pt>
                <c:pt idx="20">
                  <c:v>82</c:v>
                </c:pt>
                <c:pt idx="21">
                  <c:v>76</c:v>
                </c:pt>
                <c:pt idx="22">
                  <c:v>72</c:v>
                </c:pt>
                <c:pt idx="23">
                  <c:v>64</c:v>
                </c:pt>
                <c:pt idx="24">
                  <c:v>58</c:v>
                </c:pt>
                <c:pt idx="25">
                  <c:v>54</c:v>
                </c:pt>
                <c:pt idx="26">
                  <c:v>50</c:v>
                </c:pt>
                <c:pt idx="27">
                  <c:v>42</c:v>
                </c:pt>
                <c:pt idx="28">
                  <c:v>42</c:v>
                </c:pt>
                <c:pt idx="29">
                  <c:v>42</c:v>
                </c:pt>
                <c:pt idx="30">
                  <c:v>43</c:v>
                </c:pt>
                <c:pt idx="31">
                  <c:v>44</c:v>
                </c:pt>
                <c:pt idx="32">
                  <c:v>45</c:v>
                </c:pt>
                <c:pt idx="33">
                  <c:v>41</c:v>
                </c:pt>
                <c:pt idx="34">
                  <c:v>39</c:v>
                </c:pt>
                <c:pt idx="35">
                  <c:v>37</c:v>
                </c:pt>
                <c:pt idx="36">
                  <c:v>36</c:v>
                </c:pt>
                <c:pt idx="37">
                  <c:v>35</c:v>
                </c:pt>
                <c:pt idx="38">
                  <c:v>33</c:v>
                </c:pt>
                <c:pt idx="39">
                  <c:v>30</c:v>
                </c:pt>
                <c:pt idx="40">
                  <c:v>27</c:v>
                </c:pt>
                <c:pt idx="41">
                  <c:v>27</c:v>
                </c:pt>
                <c:pt idx="42">
                  <c:v>25</c:v>
                </c:pt>
                <c:pt idx="43">
                  <c:v>25</c:v>
                </c:pt>
                <c:pt idx="44">
                  <c:v>20</c:v>
                </c:pt>
                <c:pt idx="45">
                  <c:v>21</c:v>
                </c:pt>
                <c:pt idx="46">
                  <c:v>23</c:v>
                </c:pt>
                <c:pt idx="47">
                  <c:v>19</c:v>
                </c:pt>
                <c:pt idx="48">
                  <c:v>19</c:v>
                </c:pt>
                <c:pt idx="49">
                  <c:v>13</c:v>
                </c:pt>
                <c:pt idx="50">
                  <c:v>12</c:v>
                </c:pt>
                <c:pt idx="51">
                  <c:v>13</c:v>
                </c:pt>
                <c:pt idx="52">
                  <c:v>15</c:v>
                </c:pt>
                <c:pt idx="53">
                  <c:v>15</c:v>
                </c:pt>
                <c:pt idx="54">
                  <c:v>12</c:v>
                </c:pt>
                <c:pt idx="55">
                  <c:v>12</c:v>
                </c:pt>
                <c:pt idx="56">
                  <c:v>12</c:v>
                </c:pt>
                <c:pt idx="57">
                  <c:v>12</c:v>
                </c:pt>
                <c:pt idx="58">
                  <c:v>10</c:v>
                </c:pt>
                <c:pt idx="59">
                  <c:v>8</c:v>
                </c:pt>
                <c:pt idx="60">
                  <c:v>7</c:v>
                </c:pt>
                <c:pt idx="61">
                  <c:v>6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53.492259337597716</c:v>
                </c:pt>
                <c:pt idx="27">
                  <c:v>51.188461318626004</c:v>
                </c:pt>
                <c:pt idx="28">
                  <c:v>49.063911536935002</c:v>
                </c:pt>
                <c:pt idx="29">
                  <c:v>47.012676929645103</c:v>
                </c:pt>
                <c:pt idx="30">
                  <c:v>45.091444725736054</c:v>
                </c:pt>
                <c:pt idx="31">
                  <c:v>43.347892998223585</c:v>
                </c:pt>
                <c:pt idx="32">
                  <c:v>41.694068328704574</c:v>
                </c:pt>
                <c:pt idx="33">
                  <c:v>40.151628933080076</c:v>
                </c:pt>
                <c:pt idx="34">
                  <c:v>38.681326669556</c:v>
                </c:pt>
                <c:pt idx="35">
                  <c:v>37.295109834903542</c:v>
                </c:pt>
                <c:pt idx="36">
                  <c:v>35.941716009398682</c:v>
                </c:pt>
                <c:pt idx="37">
                  <c:v>34.66600124720032</c:v>
                </c:pt>
                <c:pt idx="38">
                  <c:v>33.438231162409238</c:v>
                </c:pt>
                <c:pt idx="39">
                  <c:v>32.22361197160982</c:v>
                </c:pt>
                <c:pt idx="40">
                  <c:v>31.06552571805047</c:v>
                </c:pt>
                <c:pt idx="41">
                  <c:v>29.919520885628337</c:v>
                </c:pt>
                <c:pt idx="42">
                  <c:v>28.794989941476981</c:v>
                </c:pt>
                <c:pt idx="43">
                  <c:v>27.678062275012088</c:v>
                </c:pt>
                <c:pt idx="44">
                  <c:v>26.586992571642696</c:v>
                </c:pt>
                <c:pt idx="45">
                  <c:v>25.509382660587136</c:v>
                </c:pt>
                <c:pt idx="46">
                  <c:v>24.45947681793556</c:v>
                </c:pt>
                <c:pt idx="47">
                  <c:v>23.436426482678186</c:v>
                </c:pt>
                <c:pt idx="48">
                  <c:v>22.430669053355924</c:v>
                </c:pt>
                <c:pt idx="49">
                  <c:v>21.455953153175201</c:v>
                </c:pt>
                <c:pt idx="50">
                  <c:v>20.493310050663759</c:v>
                </c:pt>
                <c:pt idx="51">
                  <c:v>19.557678701478366</c:v>
                </c:pt>
                <c:pt idx="52">
                  <c:v>18.651281868093395</c:v>
                </c:pt>
                <c:pt idx="53">
                  <c:v>17.776726090317432</c:v>
                </c:pt>
                <c:pt idx="54">
                  <c:v>16.922102865490679</c:v>
                </c:pt>
                <c:pt idx="55">
                  <c:v>16.101462934836555</c:v>
                </c:pt>
                <c:pt idx="56">
                  <c:v>15.309788165384717</c:v>
                </c:pt>
                <c:pt idx="57">
                  <c:v>14.546131562802071</c:v>
                </c:pt>
                <c:pt idx="58">
                  <c:v>13.807804900955119</c:v>
                </c:pt>
                <c:pt idx="59">
                  <c:v>13.098616319006364</c:v>
                </c:pt>
                <c:pt idx="60">
                  <c:v>12.422208532503369</c:v>
                </c:pt>
                <c:pt idx="61">
                  <c:v>11.772923092657571</c:v>
                </c:pt>
                <c:pt idx="62">
                  <c:v>11.150940669938198</c:v>
                </c:pt>
                <c:pt idx="63">
                  <c:v>10.560482567069455</c:v>
                </c:pt>
                <c:pt idx="64">
                  <c:v>9.9863896183220398</c:v>
                </c:pt>
                <c:pt idx="65">
                  <c:v>9.4400794935428287</c:v>
                </c:pt>
                <c:pt idx="66">
                  <c:v>8.91988646195664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021-4467-BCF5-F751ED0D21A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53.533668431208525</c:v>
                </c:pt>
                <c:pt idx="27">
                  <c:v>51.30572481006422</c:v>
                </c:pt>
                <c:pt idx="28">
                  <c:v>49.284406568960264</c:v>
                </c:pt>
                <c:pt idx="29">
                  <c:v>47.357992705968883</c:v>
                </c:pt>
                <c:pt idx="30">
                  <c:v>45.586950205381818</c:v>
                </c:pt>
                <c:pt idx="31">
                  <c:v>44.021680403173818</c:v>
                </c:pt>
                <c:pt idx="32">
                  <c:v>42.577707579758865</c:v>
                </c:pt>
                <c:pt idx="33">
                  <c:v>41.277729435264177</c:v>
                </c:pt>
                <c:pt idx="34">
                  <c:v>40.075255374578134</c:v>
                </c:pt>
                <c:pt idx="35">
                  <c:v>38.977599752358529</c:v>
                </c:pt>
                <c:pt idx="36">
                  <c:v>37.930392600220827</c:v>
                </c:pt>
                <c:pt idx="37">
                  <c:v>36.976692346876284</c:v>
                </c:pt>
                <c:pt idx="38">
                  <c:v>36.084136400996996</c:v>
                </c:pt>
                <c:pt idx="39">
                  <c:v>35.213892888466965</c:v>
                </c:pt>
                <c:pt idx="40">
                  <c:v>34.404366631754314</c:v>
                </c:pt>
                <c:pt idx="41">
                  <c:v>33.606308630905552</c:v>
                </c:pt>
                <c:pt idx="42">
                  <c:v>32.826627402785235</c:v>
                </c:pt>
                <c:pt idx="43">
                  <c:v>32.048746928925475</c:v>
                </c:pt>
                <c:pt idx="44">
                  <c:v>31.288501753236744</c:v>
                </c:pt>
                <c:pt idx="45">
                  <c:v>30.531167974124028</c:v>
                </c:pt>
                <c:pt idx="46">
                  <c:v>29.789550726296653</c:v>
                </c:pt>
                <c:pt idx="47">
                  <c:v>29.060784468955852</c:v>
                </c:pt>
                <c:pt idx="48">
                  <c:v>28.33348078806852</c:v>
                </c:pt>
                <c:pt idx="49">
                  <c:v>27.621257533572454</c:v>
                </c:pt>
                <c:pt idx="50">
                  <c:v>26.9039658312394</c:v>
                </c:pt>
                <c:pt idx="51">
                  <c:v>26.196294436930252</c:v>
                </c:pt>
                <c:pt idx="52">
                  <c:v>25.500204882236879</c:v>
                </c:pt>
                <c:pt idx="53">
                  <c:v>24.818273999503361</c:v>
                </c:pt>
                <c:pt idx="54">
                  <c:v>24.138613773892857</c:v>
                </c:pt>
                <c:pt idx="55">
                  <c:v>23.475656470449536</c:v>
                </c:pt>
                <c:pt idx="56">
                  <c:v>22.824628485119</c:v>
                </c:pt>
                <c:pt idx="57">
                  <c:v>22.185185108065927</c:v>
                </c:pt>
                <c:pt idx="58">
                  <c:v>21.555095617374679</c:v>
                </c:pt>
                <c:pt idx="59">
                  <c:v>20.938825693643672</c:v>
                </c:pt>
                <c:pt idx="60">
                  <c:v>20.340455183962916</c:v>
                </c:pt>
                <c:pt idx="61">
                  <c:v>19.755433668923434</c:v>
                </c:pt>
                <c:pt idx="62">
                  <c:v>19.184189405222934</c:v>
                </c:pt>
                <c:pt idx="63">
                  <c:v>18.63196248354873</c:v>
                </c:pt>
                <c:pt idx="64">
                  <c:v>18.084090295136228</c:v>
                </c:pt>
                <c:pt idx="65">
                  <c:v>17.55269313934393</c:v>
                </c:pt>
                <c:pt idx="66">
                  <c:v>17.0365510286278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21-4467-BCF5-F751ED0D21A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53.574763819564694</c:v>
                </c:pt>
                <c:pt idx="27">
                  <c:v>51.422584758930505</c:v>
                </c:pt>
                <c:pt idx="28">
                  <c:v>49.504432343633425</c:v>
                </c:pt>
                <c:pt idx="29">
                  <c:v>47.702783212180528</c:v>
                </c:pt>
                <c:pt idx="30">
                  <c:v>46.083761782947434</c:v>
                </c:pt>
                <c:pt idx="31">
                  <c:v>44.702290667581075</c:v>
                </c:pt>
                <c:pt idx="32">
                  <c:v>43.479051258322016</c:v>
                </c:pt>
                <c:pt idx="33">
                  <c:v>42.43867141053618</c:v>
                </c:pt>
                <c:pt idx="34">
                  <c:v>41.527204615970938</c:v>
                </c:pt>
                <c:pt idx="35">
                  <c:v>40.747360495330859</c:v>
                </c:pt>
                <c:pt idx="36">
                  <c:v>40.043862591866642</c:v>
                </c:pt>
                <c:pt idx="37">
                  <c:v>39.460040921781527</c:v>
                </c:pt>
                <c:pt idx="38">
                  <c:v>38.961161224258888</c:v>
                </c:pt>
                <c:pt idx="39">
                  <c:v>38.504466700684063</c:v>
                </c:pt>
                <c:pt idx="40">
                  <c:v>38.124469855329181</c:v>
                </c:pt>
                <c:pt idx="41">
                  <c:v>37.767067164158703</c:v>
                </c:pt>
                <c:pt idx="42">
                  <c:v>37.436111004284051</c:v>
                </c:pt>
                <c:pt idx="43">
                  <c:v>37.11332283747042</c:v>
                </c:pt>
                <c:pt idx="44">
                  <c:v>36.812999639166662</c:v>
                </c:pt>
                <c:pt idx="45">
                  <c:v>36.517474950511577</c:v>
                </c:pt>
                <c:pt idx="46">
                  <c:v>36.236243573445165</c:v>
                </c:pt>
                <c:pt idx="47">
                  <c:v>35.964171341519034</c:v>
                </c:pt>
                <c:pt idx="48">
                  <c:v>35.688924543610149</c:v>
                </c:pt>
                <c:pt idx="49">
                  <c:v>35.422230569484213</c:v>
                </c:pt>
                <c:pt idx="50">
                  <c:v>35.143251484534829</c:v>
                </c:pt>
                <c:pt idx="51">
                  <c:v>34.865039143232281</c:v>
                </c:pt>
                <c:pt idx="52">
                  <c:v>34.588758893070676</c:v>
                </c:pt>
                <c:pt idx="53">
                  <c:v>34.315995925899571</c:v>
                </c:pt>
                <c:pt idx="54">
                  <c:v>34.034236699300948</c:v>
                </c:pt>
                <c:pt idx="55">
                  <c:v>33.758188527674434</c:v>
                </c:pt>
                <c:pt idx="56">
                  <c:v>33.482260613027648</c:v>
                </c:pt>
                <c:pt idx="57">
                  <c:v>33.205761363057917</c:v>
                </c:pt>
                <c:pt idx="58">
                  <c:v>32.926865735544389</c:v>
                </c:pt>
                <c:pt idx="59">
                  <c:v>32.649014752058946</c:v>
                </c:pt>
                <c:pt idx="60">
                  <c:v>32.376918024596925</c:v>
                </c:pt>
                <c:pt idx="61">
                  <c:v>32.105823715671164</c:v>
                </c:pt>
                <c:pt idx="62">
                  <c:v>31.836424739041242</c:v>
                </c:pt>
                <c:pt idx="63">
                  <c:v>31.573977027722776</c:v>
                </c:pt>
                <c:pt idx="64">
                  <c:v>31.303861248584568</c:v>
                </c:pt>
                <c:pt idx="65">
                  <c:v>31.038754887922831</c:v>
                </c:pt>
                <c:pt idx="66">
                  <c:v>30.7773385276364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021-4467-BCF5-F751ED0D21AC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53.636563754726268</c:v>
                </c:pt>
                <c:pt idx="27">
                  <c:v>51.598390158770535</c:v>
                </c:pt>
                <c:pt idx="28">
                  <c:v>49.835266029518465</c:v>
                </c:pt>
                <c:pt idx="29">
                  <c:v>48.220902635192132</c:v>
                </c:pt>
                <c:pt idx="30">
                  <c:v>46.834262135825497</c:v>
                </c:pt>
                <c:pt idx="31">
                  <c:v>45.739996918376647</c:v>
                </c:pt>
                <c:pt idx="32">
                  <c:v>44.868852192306868</c:v>
                </c:pt>
                <c:pt idx="33">
                  <c:v>44.250681422227018</c:v>
                </c:pt>
                <c:pt idx="34">
                  <c:v>43.820075042118184</c:v>
                </c:pt>
                <c:pt idx="35">
                  <c:v>43.574950730447327</c:v>
                </c:pt>
                <c:pt idx="36">
                  <c:v>43.461325037540362</c:v>
                </c:pt>
                <c:pt idx="37">
                  <c:v>43.52742626232871</c:v>
                </c:pt>
                <c:pt idx="38">
                  <c:v>43.738481359286467</c:v>
                </c:pt>
                <c:pt idx="39">
                  <c:v>44.047163910633863</c:v>
                </c:pt>
                <c:pt idx="40">
                  <c:v>44.481762124424748</c:v>
                </c:pt>
                <c:pt idx="41">
                  <c:v>44.982877064601759</c:v>
                </c:pt>
                <c:pt idx="42">
                  <c:v>45.553515787023535</c:v>
                </c:pt>
                <c:pt idx="43">
                  <c:v>46.17504362487778</c:v>
                </c:pt>
                <c:pt idx="44">
                  <c:v>46.860405696068327</c:v>
                </c:pt>
                <c:pt idx="45">
                  <c:v>47.587806121995953</c:v>
                </c:pt>
                <c:pt idx="46">
                  <c:v>48.363265595249132</c:v>
                </c:pt>
                <c:pt idx="47">
                  <c:v>49.178285032908519</c:v>
                </c:pt>
                <c:pt idx="48">
                  <c:v>50.019758558396362</c:v>
                </c:pt>
                <c:pt idx="49">
                  <c:v>50.899477532273806</c:v>
                </c:pt>
                <c:pt idx="50">
                  <c:v>51.794948360911903</c:v>
                </c:pt>
                <c:pt idx="51">
                  <c:v>52.717255899677212</c:v>
                </c:pt>
                <c:pt idx="52">
                  <c:v>53.665194987228006</c:v>
                </c:pt>
                <c:pt idx="53">
                  <c:v>54.639642469470914</c:v>
                </c:pt>
                <c:pt idx="54">
                  <c:v>55.628085497137292</c:v>
                </c:pt>
                <c:pt idx="55">
                  <c:v>56.644888305607893</c:v>
                </c:pt>
                <c:pt idx="56">
                  <c:v>57.683920370169162</c:v>
                </c:pt>
                <c:pt idx="57">
                  <c:v>58.743665814862212</c:v>
                </c:pt>
                <c:pt idx="58">
                  <c:v>59.821475558890974</c:v>
                </c:pt>
                <c:pt idx="59">
                  <c:v>60.921383412338145</c:v>
                </c:pt>
                <c:pt idx="60">
                  <c:v>62.047662203507699</c:v>
                </c:pt>
                <c:pt idx="61">
                  <c:v>63.195666726094615</c:v>
                </c:pt>
                <c:pt idx="62">
                  <c:v>64.366239668528692</c:v>
                </c:pt>
                <c:pt idx="63">
                  <c:v>65.564535402026124</c:v>
                </c:pt>
                <c:pt idx="64">
                  <c:v>66.77603526269715</c:v>
                </c:pt>
                <c:pt idx="65">
                  <c:v>68.01330884092387</c:v>
                </c:pt>
                <c:pt idx="66">
                  <c:v>69.2755840900225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021-4467-BCF5-F751ED0D21AC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11</c:v>
                </c:pt>
                <c:pt idx="1">
                  <c:v>211</c:v>
                </c:pt>
                <c:pt idx="2">
                  <c:v>211</c:v>
                </c:pt>
                <c:pt idx="3">
                  <c:v>211</c:v>
                </c:pt>
                <c:pt idx="4">
                  <c:v>211</c:v>
                </c:pt>
                <c:pt idx="5">
                  <c:v>211</c:v>
                </c:pt>
                <c:pt idx="6">
                  <c:v>211</c:v>
                </c:pt>
                <c:pt idx="7">
                  <c:v>211</c:v>
                </c:pt>
                <c:pt idx="8">
                  <c:v>211</c:v>
                </c:pt>
                <c:pt idx="9">
                  <c:v>211</c:v>
                </c:pt>
                <c:pt idx="10">
                  <c:v>211</c:v>
                </c:pt>
                <c:pt idx="11">
                  <c:v>211</c:v>
                </c:pt>
                <c:pt idx="12">
                  <c:v>211</c:v>
                </c:pt>
                <c:pt idx="13">
                  <c:v>211</c:v>
                </c:pt>
                <c:pt idx="14">
                  <c:v>211</c:v>
                </c:pt>
                <c:pt idx="15">
                  <c:v>211</c:v>
                </c:pt>
                <c:pt idx="16">
                  <c:v>211</c:v>
                </c:pt>
                <c:pt idx="17">
                  <c:v>211</c:v>
                </c:pt>
                <c:pt idx="18">
                  <c:v>211</c:v>
                </c:pt>
                <c:pt idx="19">
                  <c:v>211</c:v>
                </c:pt>
                <c:pt idx="20">
                  <c:v>211</c:v>
                </c:pt>
                <c:pt idx="21">
                  <c:v>211</c:v>
                </c:pt>
                <c:pt idx="22">
                  <c:v>211</c:v>
                </c:pt>
                <c:pt idx="23">
                  <c:v>211</c:v>
                </c:pt>
                <c:pt idx="24">
                  <c:v>211</c:v>
                </c:pt>
                <c:pt idx="25">
                  <c:v>211</c:v>
                </c:pt>
                <c:pt idx="26">
                  <c:v>211</c:v>
                </c:pt>
                <c:pt idx="27">
                  <c:v>211</c:v>
                </c:pt>
                <c:pt idx="28">
                  <c:v>211</c:v>
                </c:pt>
                <c:pt idx="29">
                  <c:v>211</c:v>
                </c:pt>
                <c:pt idx="30">
                  <c:v>211</c:v>
                </c:pt>
                <c:pt idx="31">
                  <c:v>211</c:v>
                </c:pt>
                <c:pt idx="32">
                  <c:v>211</c:v>
                </c:pt>
                <c:pt idx="33">
                  <c:v>211</c:v>
                </c:pt>
                <c:pt idx="34">
                  <c:v>211</c:v>
                </c:pt>
                <c:pt idx="35">
                  <c:v>211</c:v>
                </c:pt>
                <c:pt idx="36">
                  <c:v>211</c:v>
                </c:pt>
                <c:pt idx="37">
                  <c:v>211</c:v>
                </c:pt>
                <c:pt idx="38">
                  <c:v>211</c:v>
                </c:pt>
                <c:pt idx="39">
                  <c:v>211</c:v>
                </c:pt>
                <c:pt idx="40">
                  <c:v>211</c:v>
                </c:pt>
                <c:pt idx="41">
                  <c:v>211</c:v>
                </c:pt>
                <c:pt idx="42">
                  <c:v>211</c:v>
                </c:pt>
                <c:pt idx="43">
                  <c:v>211</c:v>
                </c:pt>
                <c:pt idx="44">
                  <c:v>211</c:v>
                </c:pt>
                <c:pt idx="45">
                  <c:v>211</c:v>
                </c:pt>
                <c:pt idx="46">
                  <c:v>211</c:v>
                </c:pt>
                <c:pt idx="47">
                  <c:v>211</c:v>
                </c:pt>
                <c:pt idx="48">
                  <c:v>211</c:v>
                </c:pt>
                <c:pt idx="49">
                  <c:v>211</c:v>
                </c:pt>
                <c:pt idx="50">
                  <c:v>211</c:v>
                </c:pt>
                <c:pt idx="51">
                  <c:v>211</c:v>
                </c:pt>
                <c:pt idx="52">
                  <c:v>211</c:v>
                </c:pt>
                <c:pt idx="53">
                  <c:v>211</c:v>
                </c:pt>
                <c:pt idx="54">
                  <c:v>211</c:v>
                </c:pt>
                <c:pt idx="55">
                  <c:v>211</c:v>
                </c:pt>
                <c:pt idx="56">
                  <c:v>211</c:v>
                </c:pt>
                <c:pt idx="57">
                  <c:v>211</c:v>
                </c:pt>
                <c:pt idx="58">
                  <c:v>211</c:v>
                </c:pt>
                <c:pt idx="59">
                  <c:v>211</c:v>
                </c:pt>
                <c:pt idx="60">
                  <c:v>211</c:v>
                </c:pt>
                <c:pt idx="61">
                  <c:v>211</c:v>
                </c:pt>
                <c:pt idx="62">
                  <c:v>211</c:v>
                </c:pt>
                <c:pt idx="63">
                  <c:v>211</c:v>
                </c:pt>
                <c:pt idx="64">
                  <c:v>211</c:v>
                </c:pt>
                <c:pt idx="65">
                  <c:v>211</c:v>
                </c:pt>
                <c:pt idx="66">
                  <c:v>2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0</c:v>
                </c:pt>
                <c:pt idx="1">
                  <c:v>26</c:v>
                </c:pt>
                <c:pt idx="2">
                  <c:v>44</c:v>
                </c:pt>
                <c:pt idx="3">
                  <c:v>55</c:v>
                </c:pt>
                <c:pt idx="4">
                  <c:v>67</c:v>
                </c:pt>
                <c:pt idx="5">
                  <c:v>85</c:v>
                </c:pt>
                <c:pt idx="6">
                  <c:v>95</c:v>
                </c:pt>
                <c:pt idx="7">
                  <c:v>103</c:v>
                </c:pt>
                <c:pt idx="8">
                  <c:v>119</c:v>
                </c:pt>
                <c:pt idx="9">
                  <c:v>128</c:v>
                </c:pt>
                <c:pt idx="10">
                  <c:v>136</c:v>
                </c:pt>
                <c:pt idx="11">
                  <c:v>150</c:v>
                </c:pt>
                <c:pt idx="12">
                  <c:v>162</c:v>
                </c:pt>
                <c:pt idx="13">
                  <c:v>176</c:v>
                </c:pt>
                <c:pt idx="14">
                  <c:v>183</c:v>
                </c:pt>
                <c:pt idx="15">
                  <c:v>196</c:v>
                </c:pt>
                <c:pt idx="16">
                  <c:v>203</c:v>
                </c:pt>
                <c:pt idx="17">
                  <c:v>209</c:v>
                </c:pt>
                <c:pt idx="18">
                  <c:v>222</c:v>
                </c:pt>
                <c:pt idx="19">
                  <c:v>229</c:v>
                </c:pt>
                <c:pt idx="20">
                  <c:v>234</c:v>
                </c:pt>
                <c:pt idx="21">
                  <c:v>243</c:v>
                </c:pt>
                <c:pt idx="22">
                  <c:v>254</c:v>
                </c:pt>
                <c:pt idx="23">
                  <c:v>264</c:v>
                </c:pt>
                <c:pt idx="24">
                  <c:v>273</c:v>
                </c:pt>
                <c:pt idx="25">
                  <c:v>277</c:v>
                </c:pt>
                <c:pt idx="26">
                  <c:v>279</c:v>
                </c:pt>
                <c:pt idx="27">
                  <c:v>286</c:v>
                </c:pt>
                <c:pt idx="28">
                  <c:v>289</c:v>
                </c:pt>
                <c:pt idx="29">
                  <c:v>294</c:v>
                </c:pt>
                <c:pt idx="30">
                  <c:v>300</c:v>
                </c:pt>
                <c:pt idx="31">
                  <c:v>304</c:v>
                </c:pt>
                <c:pt idx="32">
                  <c:v>310</c:v>
                </c:pt>
                <c:pt idx="33">
                  <c:v>319</c:v>
                </c:pt>
                <c:pt idx="34">
                  <c:v>325</c:v>
                </c:pt>
                <c:pt idx="35">
                  <c:v>329</c:v>
                </c:pt>
                <c:pt idx="36">
                  <c:v>334</c:v>
                </c:pt>
                <c:pt idx="37">
                  <c:v>337</c:v>
                </c:pt>
                <c:pt idx="38">
                  <c:v>345</c:v>
                </c:pt>
                <c:pt idx="39">
                  <c:v>348</c:v>
                </c:pt>
                <c:pt idx="40">
                  <c:v>353</c:v>
                </c:pt>
                <c:pt idx="41">
                  <c:v>355</c:v>
                </c:pt>
                <c:pt idx="42">
                  <c:v>360</c:v>
                </c:pt>
                <c:pt idx="43">
                  <c:v>364</c:v>
                </c:pt>
                <c:pt idx="44">
                  <c:v>365</c:v>
                </c:pt>
                <c:pt idx="45">
                  <c:v>365</c:v>
                </c:pt>
                <c:pt idx="46">
                  <c:v>369</c:v>
                </c:pt>
                <c:pt idx="47">
                  <c:v>373</c:v>
                </c:pt>
                <c:pt idx="48">
                  <c:v>374</c:v>
                </c:pt>
                <c:pt idx="49">
                  <c:v>376</c:v>
                </c:pt>
                <c:pt idx="50">
                  <c:v>377</c:v>
                </c:pt>
                <c:pt idx="51">
                  <c:v>380</c:v>
                </c:pt>
                <c:pt idx="52">
                  <c:v>381</c:v>
                </c:pt>
                <c:pt idx="53">
                  <c:v>383</c:v>
                </c:pt>
                <c:pt idx="54">
                  <c:v>383</c:v>
                </c:pt>
                <c:pt idx="55">
                  <c:v>385</c:v>
                </c:pt>
                <c:pt idx="56">
                  <c:v>386</c:v>
                </c:pt>
                <c:pt idx="57">
                  <c:v>387</c:v>
                </c:pt>
                <c:pt idx="58">
                  <c:v>388</c:v>
                </c:pt>
                <c:pt idx="59">
                  <c:v>389</c:v>
                </c:pt>
                <c:pt idx="60">
                  <c:v>389</c:v>
                </c:pt>
                <c:pt idx="61">
                  <c:v>389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83.00872350538521</c:v>
                </c:pt>
                <c:pt idx="27">
                  <c:v>287.89898447376811</c:v>
                </c:pt>
                <c:pt idx="28">
                  <c:v>292.67910227221324</c:v>
                </c:pt>
                <c:pt idx="29">
                  <c:v>297.31844412329917</c:v>
                </c:pt>
                <c:pt idx="30">
                  <c:v>301.82960757881114</c:v>
                </c:pt>
                <c:pt idx="31">
                  <c:v>306.2653089692638</c:v>
                </c:pt>
                <c:pt idx="32">
                  <c:v>310.60818442504126</c:v>
                </c:pt>
                <c:pt idx="33">
                  <c:v>314.83668346017828</c:v>
                </c:pt>
                <c:pt idx="34">
                  <c:v>318.94979954124966</c:v>
                </c:pt>
                <c:pt idx="35">
                  <c:v>322.94471670838527</c:v>
                </c:pt>
                <c:pt idx="36">
                  <c:v>326.8074688732903</c:v>
                </c:pt>
                <c:pt idx="37">
                  <c:v>330.53949986735051</c:v>
                </c:pt>
                <c:pt idx="38">
                  <c:v>334.13809251228474</c:v>
                </c:pt>
                <c:pt idx="39">
                  <c:v>337.59885914317738</c:v>
                </c:pt>
                <c:pt idx="40">
                  <c:v>340.9162784092598</c:v>
                </c:pt>
                <c:pt idx="41">
                  <c:v>344.08877793264537</c:v>
                </c:pt>
                <c:pt idx="42">
                  <c:v>347.11600492195407</c:v>
                </c:pt>
                <c:pt idx="43">
                  <c:v>350.00339078728842</c:v>
                </c:pt>
                <c:pt idx="44">
                  <c:v>352.7575550215538</c:v>
                </c:pt>
                <c:pt idx="45">
                  <c:v>355.38983679178358</c:v>
                </c:pt>
                <c:pt idx="46">
                  <c:v>357.90216971536432</c:v>
                </c:pt>
                <c:pt idx="47">
                  <c:v>360.29606686014762</c:v>
                </c:pt>
                <c:pt idx="48">
                  <c:v>362.57942527190119</c:v>
                </c:pt>
                <c:pt idx="49">
                  <c:v>364.75698035302753</c:v>
                </c:pt>
                <c:pt idx="50">
                  <c:v>366.83085931498476</c:v>
                </c:pt>
                <c:pt idx="51">
                  <c:v>368.80656102255648</c:v>
                </c:pt>
                <c:pt idx="52">
                  <c:v>370.69120700348645</c:v>
                </c:pt>
                <c:pt idx="53">
                  <c:v>372.49009141238992</c:v>
                </c:pt>
                <c:pt idx="54">
                  <c:v>374.20553639463765</c:v>
                </c:pt>
                <c:pt idx="55">
                  <c:v>375.84202243676333</c:v>
                </c:pt>
                <c:pt idx="56">
                  <c:v>377.40336199411917</c:v>
                </c:pt>
                <c:pt idx="57">
                  <c:v>378.893121168108</c:v>
                </c:pt>
                <c:pt idx="58">
                  <c:v>380.31468983227546</c:v>
                </c:pt>
                <c:pt idx="59">
                  <c:v>381.67175335445364</c:v>
                </c:pt>
                <c:pt idx="60">
                  <c:v>382.96752416951728</c:v>
                </c:pt>
                <c:pt idx="61">
                  <c:v>384.204952270852</c:v>
                </c:pt>
                <c:pt idx="62">
                  <c:v>385.38736213735388</c:v>
                </c:pt>
                <c:pt idx="63">
                  <c:v>386.51715138378489</c:v>
                </c:pt>
                <c:pt idx="64">
                  <c:v>387.59730323967506</c:v>
                </c:pt>
                <c:pt idx="65">
                  <c:v>388.62996459852087</c:v>
                </c:pt>
                <c:pt idx="66">
                  <c:v>389.61794473381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DD-4661-8E00-FA50E7285F44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83.07098956054159</c:v>
                </c:pt>
                <c:pt idx="27">
                  <c:v>288.07966605199556</c:v>
                </c:pt>
                <c:pt idx="28">
                  <c:v>293.02698580578232</c:v>
                </c:pt>
                <c:pt idx="29">
                  <c:v>297.8767577462919</c:v>
                </c:pt>
                <c:pt idx="30">
                  <c:v>302.6497181896093</c:v>
                </c:pt>
                <c:pt idx="31">
                  <c:v>307.4053043871084</c:v>
                </c:pt>
                <c:pt idx="32">
                  <c:v>312.13427626644284</c:v>
                </c:pt>
                <c:pt idx="33">
                  <c:v>316.82037098523028</c:v>
                </c:pt>
                <c:pt idx="34">
                  <c:v>321.45587714048918</c:v>
                </c:pt>
                <c:pt idx="35">
                  <c:v>326.03403934482668</c:v>
                </c:pt>
                <c:pt idx="36">
                  <c:v>330.539113228205</c:v>
                </c:pt>
                <c:pt idx="37">
                  <c:v>334.97268632220016</c:v>
                </c:pt>
                <c:pt idx="38">
                  <c:v>339.33062804183015</c:v>
                </c:pt>
                <c:pt idx="39">
                  <c:v>343.60475443139296</c:v>
                </c:pt>
                <c:pt idx="40">
                  <c:v>347.78402410269342</c:v>
                </c:pt>
                <c:pt idx="41">
                  <c:v>351.86130998350836</c:v>
                </c:pt>
                <c:pt idx="42">
                  <c:v>355.83332779478729</c:v>
                </c:pt>
                <c:pt idx="43">
                  <c:v>359.70200311488099</c:v>
                </c:pt>
                <c:pt idx="44">
                  <c:v>363.47037440197619</c:v>
                </c:pt>
                <c:pt idx="45">
                  <c:v>367.1461668390441</c:v>
                </c:pt>
                <c:pt idx="46">
                  <c:v>370.72849759107737</c:v>
                </c:pt>
                <c:pt idx="47">
                  <c:v>374.21516531871578</c:v>
                </c:pt>
                <c:pt idx="48">
                  <c:v>377.60998959793869</c:v>
                </c:pt>
                <c:pt idx="49">
                  <c:v>380.91596218558431</c:v>
                </c:pt>
                <c:pt idx="50">
                  <c:v>384.13189356882106</c:v>
                </c:pt>
                <c:pt idx="51">
                  <c:v>387.26099552777873</c:v>
                </c:pt>
                <c:pt idx="52">
                  <c:v>390.30802335315553</c:v>
                </c:pt>
                <c:pt idx="53">
                  <c:v>393.27597867309851</c:v>
                </c:pt>
                <c:pt idx="54">
                  <c:v>396.16494050694899</c:v>
                </c:pt>
                <c:pt idx="55">
                  <c:v>398.97761982101491</c:v>
                </c:pt>
                <c:pt idx="56">
                  <c:v>401.71591450681251</c:v>
                </c:pt>
                <c:pt idx="57">
                  <c:v>404.38192390012057</c:v>
                </c:pt>
                <c:pt idx="58">
                  <c:v>406.97733251879936</c:v>
                </c:pt>
                <c:pt idx="59">
                  <c:v>409.50458078356559</c:v>
                </c:pt>
                <c:pt idx="60">
                  <c:v>411.96532186019789</c:v>
                </c:pt>
                <c:pt idx="61">
                  <c:v>414.36192096042043</c:v>
                </c:pt>
                <c:pt idx="62">
                  <c:v>416.69597330696524</c:v>
                </c:pt>
                <c:pt idx="63">
                  <c:v>418.96936467575824</c:v>
                </c:pt>
                <c:pt idx="64">
                  <c:v>421.18394157368596</c:v>
                </c:pt>
                <c:pt idx="65">
                  <c:v>423.34112009769285</c:v>
                </c:pt>
                <c:pt idx="66">
                  <c:v>425.442589252505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DD-4661-8E00-FA50E7285F44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83.13278390315884</c:v>
                </c:pt>
                <c:pt idx="27">
                  <c:v>288.25970784067522</c:v>
                </c:pt>
                <c:pt idx="28">
                  <c:v>293.37409100360168</c:v>
                </c:pt>
                <c:pt idx="29">
                  <c:v>298.43415867545951</c:v>
                </c:pt>
                <c:pt idx="30">
                  <c:v>303.47161358001273</c:v>
                </c:pt>
                <c:pt idx="31">
                  <c:v>308.55551742675055</c:v>
                </c:pt>
                <c:pt idx="32">
                  <c:v>313.68764921077315</c:v>
                </c:pt>
                <c:pt idx="33">
                  <c:v>318.85892815794489</c:v>
                </c:pt>
                <c:pt idx="34">
                  <c:v>324.05527569557455</c:v>
                </c:pt>
                <c:pt idx="35">
                  <c:v>329.26668695379044</c:v>
                </c:pt>
                <c:pt idx="36">
                  <c:v>334.47959599191449</c:v>
                </c:pt>
                <c:pt idx="37">
                  <c:v>339.69973593459258</c:v>
                </c:pt>
                <c:pt idx="38">
                  <c:v>344.92307598984007</c:v>
                </c:pt>
                <c:pt idx="39">
                  <c:v>350.13899297510306</c:v>
                </c:pt>
                <c:pt idx="40">
                  <c:v>355.33380896370437</c:v>
                </c:pt>
                <c:pt idx="41">
                  <c:v>360.49614089337956</c:v>
                </c:pt>
                <c:pt idx="42">
                  <c:v>365.62030196111272</c:v>
                </c:pt>
                <c:pt idx="43">
                  <c:v>370.70760882405011</c:v>
                </c:pt>
                <c:pt idx="44">
                  <c:v>375.76039804682057</c:v>
                </c:pt>
                <c:pt idx="45">
                  <c:v>380.78349790457412</c:v>
                </c:pt>
                <c:pt idx="46">
                  <c:v>385.7720043771418</c:v>
                </c:pt>
                <c:pt idx="47">
                  <c:v>390.72110332860495</c:v>
                </c:pt>
                <c:pt idx="48">
                  <c:v>395.63334130419349</c:v>
                </c:pt>
                <c:pt idx="49">
                  <c:v>400.50884982770935</c:v>
                </c:pt>
                <c:pt idx="50">
                  <c:v>405.34521934544773</c:v>
                </c:pt>
                <c:pt idx="51">
                  <c:v>410.14279014283073</c:v>
                </c:pt>
                <c:pt idx="52">
                  <c:v>414.9044527831602</c:v>
                </c:pt>
                <c:pt idx="53">
                  <c:v>419.6307036870561</c:v>
                </c:pt>
                <c:pt idx="54">
                  <c:v>424.31953573187275</c:v>
                </c:pt>
                <c:pt idx="55">
                  <c:v>428.97281215336096</c:v>
                </c:pt>
                <c:pt idx="56">
                  <c:v>433.58995737702412</c:v>
                </c:pt>
                <c:pt idx="57">
                  <c:v>438.17105876760172</c:v>
                </c:pt>
                <c:pt idx="58">
                  <c:v>442.71681863041647</c:v>
                </c:pt>
                <c:pt idx="59">
                  <c:v>447.22665412574247</c:v>
                </c:pt>
                <c:pt idx="60">
                  <c:v>451.70148911605929</c:v>
                </c:pt>
                <c:pt idx="61">
                  <c:v>456.14169282573658</c:v>
                </c:pt>
                <c:pt idx="62">
                  <c:v>460.54753311560842</c:v>
                </c:pt>
                <c:pt idx="63">
                  <c:v>464.9192503133728</c:v>
                </c:pt>
                <c:pt idx="64">
                  <c:v>469.25708965264107</c:v>
                </c:pt>
                <c:pt idx="65">
                  <c:v>473.56168831846662</c:v>
                </c:pt>
                <c:pt idx="66">
                  <c:v>477.83291223713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DD-4661-8E00-FA50E7285F4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83.22571127335476</c:v>
                </c:pt>
                <c:pt idx="27">
                  <c:v>288.53056213100814</c:v>
                </c:pt>
                <c:pt idx="28">
                  <c:v>293.89601361402288</c:v>
                </c:pt>
                <c:pt idx="29">
                  <c:v>299.27181464664676</c:v>
                </c:pt>
                <c:pt idx="30">
                  <c:v>304.71264939440937</c:v>
                </c:pt>
                <c:pt idx="31">
                  <c:v>310.30689090322102</c:v>
                </c:pt>
                <c:pt idx="32">
                  <c:v>316.07706152145931</c:v>
                </c:pt>
                <c:pt idx="33">
                  <c:v>322.02935319410426</c:v>
                </c:pt>
                <c:pt idx="34">
                  <c:v>328.14097422643135</c:v>
                </c:pt>
                <c:pt idx="35">
                  <c:v>334.40143907894821</c:v>
                </c:pt>
                <c:pt idx="36">
                  <c:v>340.80589521743298</c:v>
                </c:pt>
                <c:pt idx="37">
                  <c:v>347.37479724397866</c:v>
                </c:pt>
                <c:pt idx="38">
                  <c:v>354.11184524557655</c:v>
                </c:pt>
                <c:pt idx="39">
                  <c:v>361.00741820104577</c:v>
                </c:pt>
                <c:pt idx="40">
                  <c:v>368.04620418659408</c:v>
                </c:pt>
                <c:pt idx="41">
                  <c:v>375.21637746930475</c:v>
                </c:pt>
                <c:pt idx="42">
                  <c:v>382.5174761963234</c:v>
                </c:pt>
                <c:pt idx="43">
                  <c:v>389.9568656476826</c:v>
                </c:pt>
                <c:pt idx="44">
                  <c:v>397.54123434348429</c:v>
                </c:pt>
                <c:pt idx="45">
                  <c:v>405.27570682464238</c:v>
                </c:pt>
                <c:pt idx="46">
                  <c:v>413.15590895842121</c:v>
                </c:pt>
                <c:pt idx="47">
                  <c:v>421.17768984667771</c:v>
                </c:pt>
                <c:pt idx="48">
                  <c:v>429.34724320062611</c:v>
                </c:pt>
                <c:pt idx="49">
                  <c:v>437.66953904062945</c:v>
                </c:pt>
                <c:pt idx="50">
                  <c:v>446.14453197297223</c:v>
                </c:pt>
                <c:pt idx="51">
                  <c:v>454.77407887650867</c:v>
                </c:pt>
                <c:pt idx="52">
                  <c:v>463.56175136950787</c:v>
                </c:pt>
                <c:pt idx="53">
                  <c:v>472.51061521519432</c:v>
                </c:pt>
                <c:pt idx="54">
                  <c:v>481.62223889389088</c:v>
                </c:pt>
                <c:pt idx="55">
                  <c:v>490.90143593311961</c:v>
                </c:pt>
                <c:pt idx="56">
                  <c:v>500.35032315723771</c:v>
                </c:pt>
                <c:pt idx="57">
                  <c:v>509.97100829595581</c:v>
                </c:pt>
                <c:pt idx="58">
                  <c:v>519.7659782384037</c:v>
                </c:pt>
                <c:pt idx="59">
                  <c:v>529.73860996247254</c:v>
                </c:pt>
                <c:pt idx="60">
                  <c:v>539.89219056199056</c:v>
                </c:pt>
                <c:pt idx="61">
                  <c:v>550.2300861622216</c:v>
                </c:pt>
                <c:pt idx="62">
                  <c:v>560.75565232995905</c:v>
                </c:pt>
                <c:pt idx="63">
                  <c:v>571.47187842465996</c:v>
                </c:pt>
                <c:pt idx="64">
                  <c:v>582.382065171048</c:v>
                </c:pt>
                <c:pt idx="65">
                  <c:v>593.4896376295701</c:v>
                </c:pt>
                <c:pt idx="66">
                  <c:v>604.798057408237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6</c:v>
                </c:pt>
                <c:pt idx="1">
                  <c:v>84</c:v>
                </c:pt>
                <c:pt idx="2">
                  <c:v>95</c:v>
                </c:pt>
                <c:pt idx="3">
                  <c:v>87</c:v>
                </c:pt>
                <c:pt idx="4">
                  <c:v>89</c:v>
                </c:pt>
                <c:pt idx="5">
                  <c:v>82</c:v>
                </c:pt>
                <c:pt idx="6">
                  <c:v>88</c:v>
                </c:pt>
                <c:pt idx="7">
                  <c:v>90</c:v>
                </c:pt>
                <c:pt idx="8">
                  <c:v>83</c:v>
                </c:pt>
                <c:pt idx="9">
                  <c:v>82</c:v>
                </c:pt>
                <c:pt idx="10">
                  <c:v>77</c:v>
                </c:pt>
                <c:pt idx="11">
                  <c:v>78</c:v>
                </c:pt>
                <c:pt idx="12">
                  <c:v>80</c:v>
                </c:pt>
                <c:pt idx="13">
                  <c:v>79</c:v>
                </c:pt>
                <c:pt idx="14">
                  <c:v>74</c:v>
                </c:pt>
                <c:pt idx="15">
                  <c:v>72</c:v>
                </c:pt>
                <c:pt idx="16">
                  <c:v>75</c:v>
                </c:pt>
                <c:pt idx="17">
                  <c:v>72</c:v>
                </c:pt>
                <c:pt idx="18">
                  <c:v>65</c:v>
                </c:pt>
                <c:pt idx="19">
                  <c:v>65</c:v>
                </c:pt>
                <c:pt idx="20">
                  <c:v>64</c:v>
                </c:pt>
                <c:pt idx="21">
                  <c:v>63</c:v>
                </c:pt>
                <c:pt idx="22">
                  <c:v>52</c:v>
                </c:pt>
                <c:pt idx="23">
                  <c:v>53</c:v>
                </c:pt>
                <c:pt idx="24">
                  <c:v>51</c:v>
                </c:pt>
                <c:pt idx="25">
                  <c:v>51</c:v>
                </c:pt>
                <c:pt idx="26">
                  <c:v>52</c:v>
                </c:pt>
                <c:pt idx="27">
                  <c:v>49</c:v>
                </c:pt>
                <c:pt idx="28">
                  <c:v>45</c:v>
                </c:pt>
                <c:pt idx="29">
                  <c:v>40</c:v>
                </c:pt>
                <c:pt idx="30">
                  <c:v>43</c:v>
                </c:pt>
                <c:pt idx="31">
                  <c:v>42</c:v>
                </c:pt>
                <c:pt idx="32">
                  <c:v>41</c:v>
                </c:pt>
                <c:pt idx="33">
                  <c:v>37</c:v>
                </c:pt>
                <c:pt idx="34">
                  <c:v>36</c:v>
                </c:pt>
                <c:pt idx="35">
                  <c:v>35</c:v>
                </c:pt>
                <c:pt idx="36">
                  <c:v>35</c:v>
                </c:pt>
                <c:pt idx="37">
                  <c:v>28</c:v>
                </c:pt>
                <c:pt idx="38">
                  <c:v>27</c:v>
                </c:pt>
                <c:pt idx="39">
                  <c:v>24</c:v>
                </c:pt>
                <c:pt idx="40">
                  <c:v>21</c:v>
                </c:pt>
                <c:pt idx="41">
                  <c:v>20</c:v>
                </c:pt>
                <c:pt idx="42">
                  <c:v>19</c:v>
                </c:pt>
                <c:pt idx="43">
                  <c:v>16</c:v>
                </c:pt>
                <c:pt idx="44">
                  <c:v>16</c:v>
                </c:pt>
                <c:pt idx="45">
                  <c:v>18</c:v>
                </c:pt>
                <c:pt idx="46">
                  <c:v>19</c:v>
                </c:pt>
                <c:pt idx="47">
                  <c:v>19</c:v>
                </c:pt>
                <c:pt idx="48">
                  <c:v>17</c:v>
                </c:pt>
                <c:pt idx="49">
                  <c:v>16</c:v>
                </c:pt>
                <c:pt idx="50">
                  <c:v>7</c:v>
                </c:pt>
                <c:pt idx="51">
                  <c:v>8</c:v>
                </c:pt>
                <c:pt idx="52">
                  <c:v>6</c:v>
                </c:pt>
                <c:pt idx="53">
                  <c:v>5</c:v>
                </c:pt>
                <c:pt idx="54">
                  <c:v>5</c:v>
                </c:pt>
                <c:pt idx="55">
                  <c:v>3</c:v>
                </c:pt>
                <c:pt idx="56">
                  <c:v>3</c:v>
                </c:pt>
                <c:pt idx="57">
                  <c:v>2</c:v>
                </c:pt>
                <c:pt idx="58">
                  <c:v>3</c:v>
                </c:pt>
                <c:pt idx="59">
                  <c:v>4</c:v>
                </c:pt>
                <c:pt idx="60">
                  <c:v>5</c:v>
                </c:pt>
                <c:pt idx="61">
                  <c:v>6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50.577539681269826</c:v>
                </c:pt>
                <c:pt idx="27">
                  <c:v>48.318481530019135</c:v>
                </c:pt>
                <c:pt idx="28">
                  <c:v>46.220586092632232</c:v>
                </c:pt>
                <c:pt idx="29">
                  <c:v>44.219708291718916</c:v>
                </c:pt>
                <c:pt idx="30">
                  <c:v>42.352143030881265</c:v>
                </c:pt>
                <c:pt idx="31">
                  <c:v>40.655513000973897</c:v>
                </c:pt>
                <c:pt idx="32">
                  <c:v>39.058346395928538</c:v>
                </c:pt>
                <c:pt idx="33">
                  <c:v>37.570700005990624</c:v>
                </c:pt>
                <c:pt idx="34">
                  <c:v>36.150877842595818</c:v>
                </c:pt>
                <c:pt idx="35">
                  <c:v>34.805587761074868</c:v>
                </c:pt>
                <c:pt idx="36">
                  <c:v>33.511198553668905</c:v>
                </c:pt>
                <c:pt idx="37">
                  <c:v>32.290819049579014</c:v>
                </c:pt>
                <c:pt idx="38">
                  <c:v>31.12631489116524</c:v>
                </c:pt>
                <c:pt idx="39">
                  <c:v>29.983366730644914</c:v>
                </c:pt>
                <c:pt idx="40">
                  <c:v>28.89503134204465</c:v>
                </c:pt>
                <c:pt idx="41">
                  <c:v>27.821267049265394</c:v>
                </c:pt>
                <c:pt idx="42">
                  <c:v>26.769334385166971</c:v>
                </c:pt>
                <c:pt idx="43">
                  <c:v>25.731457447111175</c:v>
                </c:pt>
                <c:pt idx="44">
                  <c:v>24.719322972410801</c:v>
                </c:pt>
                <c:pt idx="45">
                  <c:v>23.731967515531863</c:v>
                </c:pt>
                <c:pt idx="46">
                  <c:v>22.771213908319702</c:v>
                </c:pt>
                <c:pt idx="47">
                  <c:v>21.836539344268452</c:v>
                </c:pt>
                <c:pt idx="48">
                  <c:v>20.919267173272601</c:v>
                </c:pt>
                <c:pt idx="49">
                  <c:v>20.030060161289441</c:v>
                </c:pt>
                <c:pt idx="50">
                  <c:v>19.153706632079921</c:v>
                </c:pt>
                <c:pt idx="51">
                  <c:v>18.304801208734165</c:v>
                </c:pt>
                <c:pt idx="52">
                  <c:v>17.485522987090601</c:v>
                </c:pt>
                <c:pt idx="53">
                  <c:v>16.698099642070172</c:v>
                </c:pt>
                <c:pt idx="54">
                  <c:v>15.931142154250832</c:v>
                </c:pt>
                <c:pt idx="55">
                  <c:v>15.192290971794993</c:v>
                </c:pt>
                <c:pt idx="56">
                  <c:v>14.481389257685812</c:v>
                </c:pt>
                <c:pt idx="57">
                  <c:v>13.79579300188955</c:v>
                </c:pt>
                <c:pt idx="58">
                  <c:v>13.133925954832595</c:v>
                </c:pt>
                <c:pt idx="59">
                  <c:v>12.496571979841427</c:v>
                </c:pt>
                <c:pt idx="60">
                  <c:v>11.89124652696476</c:v>
                </c:pt>
                <c:pt idx="61">
                  <c:v>11.312687447528644</c:v>
                </c:pt>
                <c:pt idx="62">
                  <c:v>10.756448063938883</c:v>
                </c:pt>
                <c:pt idx="63">
                  <c:v>10.228583824361197</c:v>
                </c:pt>
                <c:pt idx="64">
                  <c:v>9.7168374669498156</c:v>
                </c:pt>
                <c:pt idx="65">
                  <c:v>9.2294721962075599</c:v>
                </c:pt>
                <c:pt idx="66">
                  <c:v>8.7661326732374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9CD-43F7-81E5-3303221A3D3F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50.616560293858939</c:v>
                </c:pt>
                <c:pt idx="27">
                  <c:v>48.429165669728889</c:v>
                </c:pt>
                <c:pt idx="28">
                  <c:v>46.428436439203011</c:v>
                </c:pt>
                <c:pt idx="29">
                  <c:v>44.544727268626055</c:v>
                </c:pt>
                <c:pt idx="30">
                  <c:v>42.817758889100318</c:v>
                </c:pt>
                <c:pt idx="31">
                  <c:v>41.287416963149326</c:v>
                </c:pt>
                <c:pt idx="32">
                  <c:v>39.885055828025536</c:v>
                </c:pt>
                <c:pt idx="33">
                  <c:v>38.621611841704656</c:v>
                </c:pt>
                <c:pt idx="34">
                  <c:v>37.448541284724755</c:v>
                </c:pt>
                <c:pt idx="35">
                  <c:v>36.367970091716074</c:v>
                </c:pt>
                <c:pt idx="36">
                  <c:v>35.353466261439124</c:v>
                </c:pt>
                <c:pt idx="37">
                  <c:v>34.426771618646669</c:v>
                </c:pt>
                <c:pt idx="38">
                  <c:v>33.567296620073343</c:v>
                </c:pt>
                <c:pt idx="39">
                  <c:v>32.737088163974775</c:v>
                </c:pt>
                <c:pt idx="40">
                  <c:v>31.964501467640098</c:v>
                </c:pt>
                <c:pt idx="41">
                  <c:v>31.205305202239401</c:v>
                </c:pt>
                <c:pt idx="42">
                  <c:v>30.464603945047578</c:v>
                </c:pt>
                <c:pt idx="43">
                  <c:v>29.732192005279767</c:v>
                </c:pt>
                <c:pt idx="44">
                  <c:v>29.017605212639843</c:v>
                </c:pt>
                <c:pt idx="45">
                  <c:v>28.317762808423417</c:v>
                </c:pt>
                <c:pt idx="46">
                  <c:v>27.633283470347273</c:v>
                </c:pt>
                <c:pt idx="47">
                  <c:v>26.961873276310882</c:v>
                </c:pt>
                <c:pt idx="48">
                  <c:v>26.293215621358051</c:v>
                </c:pt>
                <c:pt idx="49">
                  <c:v>25.637919038997609</c:v>
                </c:pt>
                <c:pt idx="50">
                  <c:v>24.979784674260227</c:v>
                </c:pt>
                <c:pt idx="51">
                  <c:v>24.333234594302688</c:v>
                </c:pt>
                <c:pt idx="52">
                  <c:v>23.70027475354388</c:v>
                </c:pt>
                <c:pt idx="53">
                  <c:v>23.08316091326061</c:v>
                </c:pt>
                <c:pt idx="54">
                  <c:v>22.470569432409366</c:v>
                </c:pt>
                <c:pt idx="55">
                  <c:v>21.870470606839511</c:v>
                </c:pt>
                <c:pt idx="56">
                  <c:v>21.282933819389001</c:v>
                </c:pt>
                <c:pt idx="57">
                  <c:v>20.705919716022702</c:v>
                </c:pt>
                <c:pt idx="58">
                  <c:v>20.138288657665193</c:v>
                </c:pt>
                <c:pt idx="59">
                  <c:v>19.581455581803457</c:v>
                </c:pt>
                <c:pt idx="60">
                  <c:v>19.043331387669092</c:v>
                </c:pt>
                <c:pt idx="61">
                  <c:v>18.519667142734246</c:v>
                </c:pt>
                <c:pt idx="62">
                  <c:v>18.006230113442044</c:v>
                </c:pt>
                <c:pt idx="63">
                  <c:v>17.509992737295171</c:v>
                </c:pt>
                <c:pt idx="64">
                  <c:v>17.019168466141597</c:v>
                </c:pt>
                <c:pt idx="65">
                  <c:v>16.542658345491709</c:v>
                </c:pt>
                <c:pt idx="66">
                  <c:v>16.080495160008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9CD-43F7-81E5-3303221A3D3F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50.655285295746623</c:v>
                </c:pt>
                <c:pt idx="27">
                  <c:v>48.539468146130929</c:v>
                </c:pt>
                <c:pt idx="28">
                  <c:v>46.6358461976575</c:v>
                </c:pt>
                <c:pt idx="29">
                  <c:v>44.869254239369283</c:v>
                </c:pt>
                <c:pt idx="30">
                  <c:v>43.284610663459922</c:v>
                </c:pt>
                <c:pt idx="31">
                  <c:v>41.925768013429966</c:v>
                </c:pt>
                <c:pt idx="32">
                  <c:v>40.728476473869698</c:v>
                </c:pt>
                <c:pt idx="33">
                  <c:v>39.705372345621008</c:v>
                </c:pt>
                <c:pt idx="34">
                  <c:v>38.800836219718121</c:v>
                </c:pt>
                <c:pt idx="35">
                  <c:v>38.012398356737791</c:v>
                </c:pt>
                <c:pt idx="36">
                  <c:v>37.312846113275057</c:v>
                </c:pt>
                <c:pt idx="37">
                  <c:v>36.724456088421952</c:v>
                </c:pt>
                <c:pt idx="38">
                  <c:v>36.224364614216455</c:v>
                </c:pt>
                <c:pt idx="39">
                  <c:v>35.771023654551236</c:v>
                </c:pt>
                <c:pt idx="40">
                  <c:v>35.389075618927883</c:v>
                </c:pt>
                <c:pt idx="41">
                  <c:v>35.030016411727004</c:v>
                </c:pt>
                <c:pt idx="42">
                  <c:v>34.696208074633745</c:v>
                </c:pt>
                <c:pt idx="43">
                  <c:v>34.375939085683171</c:v>
                </c:pt>
                <c:pt idx="44">
                  <c:v>34.077418545403731</c:v>
                </c:pt>
                <c:pt idx="45">
                  <c:v>33.794839534597003</c:v>
                </c:pt>
                <c:pt idx="46">
                  <c:v>33.525826669388536</c:v>
                </c:pt>
                <c:pt idx="47">
                  <c:v>33.266088383579607</c:v>
                </c:pt>
                <c:pt idx="48">
                  <c:v>33.004525463274994</c:v>
                </c:pt>
                <c:pt idx="49">
                  <c:v>32.750026305071756</c:v>
                </c:pt>
                <c:pt idx="50">
                  <c:v>32.485848628157463</c:v>
                </c:pt>
                <c:pt idx="51">
                  <c:v>32.22498530493904</c:v>
                </c:pt>
                <c:pt idx="52">
                  <c:v>31.968776876338367</c:v>
                </c:pt>
                <c:pt idx="53">
                  <c:v>31.718617485528384</c:v>
                </c:pt>
                <c:pt idx="54">
                  <c:v>31.462658746743578</c:v>
                </c:pt>
                <c:pt idx="55">
                  <c:v>31.209143704812249</c:v>
                </c:pt>
                <c:pt idx="56">
                  <c:v>30.957393605508443</c:v>
                </c:pt>
                <c:pt idx="57">
                  <c:v>30.705086599347926</c:v>
                </c:pt>
                <c:pt idx="58">
                  <c:v>30.451511392189524</c:v>
                </c:pt>
                <c:pt idx="59">
                  <c:v>30.197163180148614</c:v>
                </c:pt>
                <c:pt idx="60">
                  <c:v>29.950542343015361</c:v>
                </c:pt>
                <c:pt idx="61">
                  <c:v>29.707221287205904</c:v>
                </c:pt>
                <c:pt idx="62">
                  <c:v>29.463201795437598</c:v>
                </c:pt>
                <c:pt idx="63">
                  <c:v>29.225481508083789</c:v>
                </c:pt>
                <c:pt idx="64">
                  <c:v>28.982328535887714</c:v>
                </c:pt>
                <c:pt idx="65">
                  <c:v>28.743186516730809</c:v>
                </c:pt>
                <c:pt idx="66">
                  <c:v>28.5079867029007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9CD-43F7-81E5-3303221A3D3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50.713520603928863</c:v>
                </c:pt>
                <c:pt idx="27">
                  <c:v>48.705408303089293</c:v>
                </c:pt>
                <c:pt idx="28">
                  <c:v>46.947710598055806</c:v>
                </c:pt>
                <c:pt idx="29">
                  <c:v>45.356922118336215</c:v>
                </c:pt>
                <c:pt idx="30">
                  <c:v>43.989860243724749</c:v>
                </c:pt>
                <c:pt idx="31">
                  <c:v>42.899124473933526</c:v>
                </c:pt>
                <c:pt idx="32">
                  <c:v>42.02921757904015</c:v>
                </c:pt>
                <c:pt idx="33">
                  <c:v>41.39749230123185</c:v>
                </c:pt>
                <c:pt idx="34">
                  <c:v>40.937413531797787</c:v>
                </c:pt>
                <c:pt idx="35">
                  <c:v>40.641521306821055</c:v>
                </c:pt>
                <c:pt idx="36">
                  <c:v>40.483841515336408</c:v>
                </c:pt>
                <c:pt idx="37">
                  <c:v>40.491574878061684</c:v>
                </c:pt>
                <c:pt idx="38">
                  <c:v>40.641659608408808</c:v>
                </c:pt>
                <c:pt idx="39">
                  <c:v>40.88826462535193</c:v>
                </c:pt>
                <c:pt idx="40">
                  <c:v>41.249988178139532</c:v>
                </c:pt>
                <c:pt idx="41">
                  <c:v>41.673702509462458</c:v>
                </c:pt>
                <c:pt idx="42">
                  <c:v>42.161096399390679</c:v>
                </c:pt>
                <c:pt idx="43">
                  <c:v>42.700186235149602</c:v>
                </c:pt>
                <c:pt idx="44">
                  <c:v>43.297972740705241</c:v>
                </c:pt>
                <c:pt idx="45">
                  <c:v>43.944750451655857</c:v>
                </c:pt>
                <c:pt idx="46">
                  <c:v>44.635003872442752</c:v>
                </c:pt>
                <c:pt idx="47">
                  <c:v>45.361408642139068</c:v>
                </c:pt>
                <c:pt idx="48">
                  <c:v>46.112241221769146</c:v>
                </c:pt>
                <c:pt idx="49">
                  <c:v>46.896496822179714</c:v>
                </c:pt>
                <c:pt idx="50">
                  <c:v>47.695993982528094</c:v>
                </c:pt>
                <c:pt idx="51">
                  <c:v>48.521959302175389</c:v>
                </c:pt>
                <c:pt idx="52">
                  <c:v>49.373605361072485</c:v>
                </c:pt>
                <c:pt idx="53">
                  <c:v>50.251750050618156</c:v>
                </c:pt>
                <c:pt idx="54">
                  <c:v>51.144634955098546</c:v>
                </c:pt>
                <c:pt idx="55">
                  <c:v>52.060154818495754</c:v>
                </c:pt>
                <c:pt idx="56">
                  <c:v>52.997131528550661</c:v>
                </c:pt>
                <c:pt idx="57">
                  <c:v>53.952555497753849</c:v>
                </c:pt>
                <c:pt idx="58">
                  <c:v>54.92499002416379</c:v>
                </c:pt>
                <c:pt idx="59">
                  <c:v>55.915550226003859</c:v>
                </c:pt>
                <c:pt idx="60">
                  <c:v>56.932334711861174</c:v>
                </c:pt>
                <c:pt idx="61">
                  <c:v>57.971006383599374</c:v>
                </c:pt>
                <c:pt idx="62">
                  <c:v>59.027705128528552</c:v>
                </c:pt>
                <c:pt idx="63">
                  <c:v>60.109331596179601</c:v>
                </c:pt>
                <c:pt idx="64">
                  <c:v>61.20429542238567</c:v>
                </c:pt>
                <c:pt idx="65">
                  <c:v>62.321950963244348</c:v>
                </c:pt>
                <c:pt idx="66">
                  <c:v>63.4627318775719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CD-43F7-81E5-3303221A3D3F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0</c:v>
                </c:pt>
                <c:pt idx="1">
                  <c:v>130</c:v>
                </c:pt>
                <c:pt idx="2">
                  <c:v>130</c:v>
                </c:pt>
                <c:pt idx="3">
                  <c:v>130</c:v>
                </c:pt>
                <c:pt idx="4">
                  <c:v>130</c:v>
                </c:pt>
                <c:pt idx="5">
                  <c:v>130</c:v>
                </c:pt>
                <c:pt idx="6">
                  <c:v>130</c:v>
                </c:pt>
                <c:pt idx="7">
                  <c:v>130</c:v>
                </c:pt>
                <c:pt idx="8">
                  <c:v>130</c:v>
                </c:pt>
                <c:pt idx="9">
                  <c:v>130</c:v>
                </c:pt>
                <c:pt idx="10">
                  <c:v>130</c:v>
                </c:pt>
                <c:pt idx="11">
                  <c:v>130</c:v>
                </c:pt>
                <c:pt idx="12">
                  <c:v>130</c:v>
                </c:pt>
                <c:pt idx="13">
                  <c:v>130</c:v>
                </c:pt>
                <c:pt idx="14">
                  <c:v>130</c:v>
                </c:pt>
                <c:pt idx="15">
                  <c:v>130</c:v>
                </c:pt>
                <c:pt idx="16">
                  <c:v>130</c:v>
                </c:pt>
                <c:pt idx="17">
                  <c:v>130</c:v>
                </c:pt>
                <c:pt idx="18">
                  <c:v>130</c:v>
                </c:pt>
                <c:pt idx="19">
                  <c:v>130</c:v>
                </c:pt>
                <c:pt idx="20">
                  <c:v>130</c:v>
                </c:pt>
                <c:pt idx="21">
                  <c:v>130</c:v>
                </c:pt>
                <c:pt idx="22">
                  <c:v>130</c:v>
                </c:pt>
                <c:pt idx="23">
                  <c:v>130</c:v>
                </c:pt>
                <c:pt idx="24">
                  <c:v>130</c:v>
                </c:pt>
                <c:pt idx="25">
                  <c:v>130</c:v>
                </c:pt>
                <c:pt idx="26">
                  <c:v>130</c:v>
                </c:pt>
                <c:pt idx="27">
                  <c:v>130</c:v>
                </c:pt>
                <c:pt idx="28">
                  <c:v>130</c:v>
                </c:pt>
                <c:pt idx="29">
                  <c:v>130</c:v>
                </c:pt>
                <c:pt idx="30">
                  <c:v>130</c:v>
                </c:pt>
                <c:pt idx="31">
                  <c:v>130</c:v>
                </c:pt>
                <c:pt idx="32">
                  <c:v>130</c:v>
                </c:pt>
                <c:pt idx="33">
                  <c:v>130</c:v>
                </c:pt>
                <c:pt idx="34">
                  <c:v>130</c:v>
                </c:pt>
                <c:pt idx="35">
                  <c:v>130</c:v>
                </c:pt>
                <c:pt idx="36">
                  <c:v>130</c:v>
                </c:pt>
                <c:pt idx="37">
                  <c:v>130</c:v>
                </c:pt>
                <c:pt idx="38">
                  <c:v>130</c:v>
                </c:pt>
                <c:pt idx="39">
                  <c:v>130</c:v>
                </c:pt>
                <c:pt idx="40">
                  <c:v>130</c:v>
                </c:pt>
                <c:pt idx="41">
                  <c:v>130</c:v>
                </c:pt>
                <c:pt idx="42">
                  <c:v>130</c:v>
                </c:pt>
                <c:pt idx="43">
                  <c:v>130</c:v>
                </c:pt>
                <c:pt idx="44">
                  <c:v>130</c:v>
                </c:pt>
                <c:pt idx="45">
                  <c:v>130</c:v>
                </c:pt>
                <c:pt idx="46">
                  <c:v>130</c:v>
                </c:pt>
                <c:pt idx="47">
                  <c:v>130</c:v>
                </c:pt>
                <c:pt idx="48">
                  <c:v>130</c:v>
                </c:pt>
                <c:pt idx="49">
                  <c:v>130</c:v>
                </c:pt>
                <c:pt idx="50">
                  <c:v>130</c:v>
                </c:pt>
                <c:pt idx="51">
                  <c:v>130</c:v>
                </c:pt>
                <c:pt idx="52">
                  <c:v>130</c:v>
                </c:pt>
                <c:pt idx="53">
                  <c:v>130</c:v>
                </c:pt>
                <c:pt idx="54">
                  <c:v>130</c:v>
                </c:pt>
                <c:pt idx="55">
                  <c:v>130</c:v>
                </c:pt>
                <c:pt idx="56">
                  <c:v>130</c:v>
                </c:pt>
                <c:pt idx="57">
                  <c:v>130</c:v>
                </c:pt>
                <c:pt idx="58">
                  <c:v>130</c:v>
                </c:pt>
                <c:pt idx="59">
                  <c:v>130</c:v>
                </c:pt>
                <c:pt idx="60">
                  <c:v>130</c:v>
                </c:pt>
                <c:pt idx="61">
                  <c:v>130</c:v>
                </c:pt>
                <c:pt idx="62">
                  <c:v>130</c:v>
                </c:pt>
                <c:pt idx="63">
                  <c:v>130</c:v>
                </c:pt>
                <c:pt idx="64">
                  <c:v>130</c:v>
                </c:pt>
                <c:pt idx="65">
                  <c:v>130</c:v>
                </c:pt>
                <c:pt idx="66">
                  <c:v>1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2</c:v>
                </c:pt>
                <c:pt idx="1">
                  <c:v>90</c:v>
                </c:pt>
                <c:pt idx="2">
                  <c:v>95</c:v>
                </c:pt>
                <c:pt idx="3">
                  <c:v>91</c:v>
                </c:pt>
                <c:pt idx="4">
                  <c:v>90</c:v>
                </c:pt>
                <c:pt idx="5">
                  <c:v>81</c:v>
                </c:pt>
                <c:pt idx="6">
                  <c:v>78</c:v>
                </c:pt>
                <c:pt idx="7">
                  <c:v>68</c:v>
                </c:pt>
                <c:pt idx="8">
                  <c:v>66</c:v>
                </c:pt>
                <c:pt idx="9">
                  <c:v>63</c:v>
                </c:pt>
                <c:pt idx="10">
                  <c:v>64</c:v>
                </c:pt>
                <c:pt idx="11">
                  <c:v>60</c:v>
                </c:pt>
                <c:pt idx="12">
                  <c:v>53</c:v>
                </c:pt>
                <c:pt idx="13">
                  <c:v>50</c:v>
                </c:pt>
                <c:pt idx="14">
                  <c:v>49</c:v>
                </c:pt>
                <c:pt idx="15">
                  <c:v>47</c:v>
                </c:pt>
                <c:pt idx="16">
                  <c:v>46</c:v>
                </c:pt>
                <c:pt idx="17">
                  <c:v>50</c:v>
                </c:pt>
                <c:pt idx="18">
                  <c:v>48</c:v>
                </c:pt>
                <c:pt idx="19">
                  <c:v>43</c:v>
                </c:pt>
                <c:pt idx="20">
                  <c:v>36</c:v>
                </c:pt>
                <c:pt idx="21">
                  <c:v>31</c:v>
                </c:pt>
                <c:pt idx="22">
                  <c:v>26</c:v>
                </c:pt>
                <c:pt idx="23">
                  <c:v>25</c:v>
                </c:pt>
                <c:pt idx="24">
                  <c:v>29</c:v>
                </c:pt>
                <c:pt idx="25">
                  <c:v>32</c:v>
                </c:pt>
                <c:pt idx="26">
                  <c:v>28</c:v>
                </c:pt>
                <c:pt idx="27">
                  <c:v>29</c:v>
                </c:pt>
                <c:pt idx="28">
                  <c:v>23</c:v>
                </c:pt>
                <c:pt idx="29">
                  <c:v>17</c:v>
                </c:pt>
                <c:pt idx="30">
                  <c:v>15</c:v>
                </c:pt>
                <c:pt idx="31">
                  <c:v>19</c:v>
                </c:pt>
                <c:pt idx="32">
                  <c:v>19</c:v>
                </c:pt>
                <c:pt idx="33">
                  <c:v>19</c:v>
                </c:pt>
                <c:pt idx="34">
                  <c:v>16</c:v>
                </c:pt>
                <c:pt idx="35">
                  <c:v>18</c:v>
                </c:pt>
                <c:pt idx="36">
                  <c:v>15</c:v>
                </c:pt>
                <c:pt idx="37">
                  <c:v>13</c:v>
                </c:pt>
                <c:pt idx="38">
                  <c:v>12</c:v>
                </c:pt>
                <c:pt idx="39">
                  <c:v>13</c:v>
                </c:pt>
                <c:pt idx="40">
                  <c:v>14</c:v>
                </c:pt>
                <c:pt idx="41">
                  <c:v>11</c:v>
                </c:pt>
                <c:pt idx="42">
                  <c:v>11</c:v>
                </c:pt>
                <c:pt idx="43">
                  <c:v>6</c:v>
                </c:pt>
                <c:pt idx="44">
                  <c:v>6</c:v>
                </c:pt>
                <c:pt idx="45">
                  <c:v>7</c:v>
                </c:pt>
                <c:pt idx="46">
                  <c:v>9</c:v>
                </c:pt>
                <c:pt idx="47">
                  <c:v>10</c:v>
                </c:pt>
                <c:pt idx="48">
                  <c:v>8</c:v>
                </c:pt>
                <c:pt idx="49">
                  <c:v>7</c:v>
                </c:pt>
                <c:pt idx="50">
                  <c:v>7</c:v>
                </c:pt>
                <c:pt idx="51">
                  <c:v>8</c:v>
                </c:pt>
                <c:pt idx="52">
                  <c:v>7</c:v>
                </c:pt>
                <c:pt idx="53">
                  <c:v>9</c:v>
                </c:pt>
                <c:pt idx="54">
                  <c:v>8</c:v>
                </c:pt>
                <c:pt idx="55">
                  <c:v>8</c:v>
                </c:pt>
                <c:pt idx="56">
                  <c:v>8</c:v>
                </c:pt>
                <c:pt idx="57">
                  <c:v>7</c:v>
                </c:pt>
                <c:pt idx="58">
                  <c:v>6</c:v>
                </c:pt>
                <c:pt idx="59">
                  <c:v>6</c:v>
                </c:pt>
                <c:pt idx="60">
                  <c:v>8</c:v>
                </c:pt>
                <c:pt idx="61">
                  <c:v>8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7.24468132409481</c:v>
                </c:pt>
                <c:pt idx="27">
                  <c:v>26.058223850557404</c:v>
                </c:pt>
                <c:pt idx="28">
                  <c:v>24.961713625760829</c:v>
                </c:pt>
                <c:pt idx="29">
                  <c:v>23.907030833965855</c:v>
                </c:pt>
                <c:pt idx="30">
                  <c:v>22.920244511584933</c:v>
                </c:pt>
                <c:pt idx="31">
                  <c:v>22.024430061243329</c:v>
                </c:pt>
                <c:pt idx="32">
                  <c:v>21.176684506816358</c:v>
                </c:pt>
                <c:pt idx="33">
                  <c:v>20.386350720010803</c:v>
                </c:pt>
                <c:pt idx="34">
                  <c:v>19.632695903356456</c:v>
                </c:pt>
                <c:pt idx="35">
                  <c:v>18.921062151830341</c:v>
                </c:pt>
                <c:pt idx="36">
                  <c:v>18.22936386420421</c:v>
                </c:pt>
                <c:pt idx="37">
                  <c:v>17.577320323058103</c:v>
                </c:pt>
                <c:pt idx="38">
                  <c:v>16.95140379190596</c:v>
                </c:pt>
                <c:pt idx="39">
                  <c:v>16.333662848451041</c:v>
                </c:pt>
                <c:pt idx="40">
                  <c:v>15.744903205345281</c:v>
                </c:pt>
                <c:pt idx="41">
                  <c:v>15.162806796648773</c:v>
                </c:pt>
                <c:pt idx="42">
                  <c:v>14.591894954403816</c:v>
                </c:pt>
                <c:pt idx="43">
                  <c:v>14.025967921860534</c:v>
                </c:pt>
                <c:pt idx="44">
                  <c:v>13.473420390639305</c:v>
                </c:pt>
                <c:pt idx="45">
                  <c:v>12.929680545152761</c:v>
                </c:pt>
                <c:pt idx="46">
                  <c:v>12.400116920304823</c:v>
                </c:pt>
                <c:pt idx="47">
                  <c:v>11.884342604548713</c:v>
                </c:pt>
                <c:pt idx="48">
                  <c:v>11.377546281026161</c:v>
                </c:pt>
                <c:pt idx="49">
                  <c:v>10.88635188732499</c:v>
                </c:pt>
                <c:pt idx="50">
                  <c:v>10.401539429433274</c:v>
                </c:pt>
                <c:pt idx="51">
                  <c:v>9.9307936968152379</c:v>
                </c:pt>
                <c:pt idx="52">
                  <c:v>9.475259332515849</c:v>
                </c:pt>
                <c:pt idx="53">
                  <c:v>9.0362255353940562</c:v>
                </c:pt>
                <c:pt idx="54">
                  <c:v>8.6076061060519713</c:v>
                </c:pt>
                <c:pt idx="55">
                  <c:v>8.1956430152817603</c:v>
                </c:pt>
                <c:pt idx="56">
                  <c:v>7.7985235917254538</c:v>
                </c:pt>
                <c:pt idx="57">
                  <c:v>7.4154822628829073</c:v>
                </c:pt>
                <c:pt idx="58">
                  <c:v>7.0453062573870806</c:v>
                </c:pt>
                <c:pt idx="59">
                  <c:v>6.6894788620440391</c:v>
                </c:pt>
                <c:pt idx="60">
                  <c:v>6.3505148610335258</c:v>
                </c:pt>
                <c:pt idx="61">
                  <c:v>6.0255465440832126</c:v>
                </c:pt>
                <c:pt idx="62">
                  <c:v>5.7139179647722713</c:v>
                </c:pt>
                <c:pt idx="63">
                  <c:v>5.4181134796483468</c:v>
                </c:pt>
                <c:pt idx="64">
                  <c:v>5.1307484859372021</c:v>
                </c:pt>
                <c:pt idx="65">
                  <c:v>4.857228032661034</c:v>
                </c:pt>
                <c:pt idx="66">
                  <c:v>4.59690129101419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C9-4E23-AC01-F7159651108E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7.265750399253179</c:v>
                </c:pt>
                <c:pt idx="27">
                  <c:v>26.117917751520885</c:v>
                </c:pt>
                <c:pt idx="28">
                  <c:v>25.073914085965626</c:v>
                </c:pt>
                <c:pt idx="29">
                  <c:v>24.082667187304189</c:v>
                </c:pt>
                <c:pt idx="30">
                  <c:v>23.172147227627121</c:v>
                </c:pt>
                <c:pt idx="31">
                  <c:v>22.366766098257305</c:v>
                </c:pt>
                <c:pt idx="32">
                  <c:v>21.625317238093359</c:v>
                </c:pt>
                <c:pt idx="33">
                  <c:v>20.957656219807369</c:v>
                </c:pt>
                <c:pt idx="34">
                  <c:v>20.339361533847605</c:v>
                </c:pt>
                <c:pt idx="35">
                  <c:v>19.773382641439913</c:v>
                </c:pt>
                <c:pt idx="36">
                  <c:v>19.236073465884861</c:v>
                </c:pt>
                <c:pt idx="37">
                  <c:v>18.746291610673563</c:v>
                </c:pt>
                <c:pt idx="38">
                  <c:v>18.289175570717596</c:v>
                </c:pt>
                <c:pt idx="39">
                  <c:v>17.844747097971535</c:v>
                </c:pt>
                <c:pt idx="40">
                  <c:v>17.431277629442874</c:v>
                </c:pt>
                <c:pt idx="41">
                  <c:v>17.024061759616991</c:v>
                </c:pt>
                <c:pt idx="42">
                  <c:v>16.62638690080491</c:v>
                </c:pt>
                <c:pt idx="43">
                  <c:v>16.230696145112685</c:v>
                </c:pt>
                <c:pt idx="44">
                  <c:v>15.844173808357127</c:v>
                </c:pt>
                <c:pt idx="45">
                  <c:v>15.4610767663949</c:v>
                </c:pt>
                <c:pt idx="46">
                  <c:v>15.086065932571586</c:v>
                </c:pt>
                <c:pt idx="47">
                  <c:v>14.717749130789809</c:v>
                </c:pt>
                <c:pt idx="48">
                  <c:v>14.350399112107418</c:v>
                </c:pt>
                <c:pt idx="49">
                  <c:v>13.990584452865175</c:v>
                </c:pt>
                <c:pt idx="50">
                  <c:v>13.628504929573182</c:v>
                </c:pt>
                <c:pt idx="51">
                  <c:v>13.271728268699398</c:v>
                </c:pt>
                <c:pt idx="52">
                  <c:v>12.921278026603469</c:v>
                </c:pt>
                <c:pt idx="53">
                  <c:v>12.578437371050486</c:v>
                </c:pt>
                <c:pt idx="54">
                  <c:v>12.237137989923166</c:v>
                </c:pt>
                <c:pt idx="55">
                  <c:v>11.903811168458899</c:v>
                </c:pt>
                <c:pt idx="56">
                  <c:v>11.576767971287474</c:v>
                </c:pt>
                <c:pt idx="57">
                  <c:v>11.255555281601076</c:v>
                </c:pt>
                <c:pt idx="58">
                  <c:v>10.939193997731252</c:v>
                </c:pt>
                <c:pt idx="59">
                  <c:v>10.62950382191589</c:v>
                </c:pt>
                <c:pt idx="60">
                  <c:v>10.329219284560622</c:v>
                </c:pt>
                <c:pt idx="61">
                  <c:v>10.036031438523693</c:v>
                </c:pt>
                <c:pt idx="62">
                  <c:v>9.7494071737731076</c:v>
                </c:pt>
                <c:pt idx="63">
                  <c:v>9.4723422383406444</c:v>
                </c:pt>
                <c:pt idx="64">
                  <c:v>9.1977051324386885</c:v>
                </c:pt>
                <c:pt idx="65">
                  <c:v>8.9312544752878509</c:v>
                </c:pt>
                <c:pt idx="66">
                  <c:v>8.67256106482124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C9-4E23-AC01-F7159651108E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7.286659860205802</c:v>
                </c:pt>
                <c:pt idx="27">
                  <c:v>26.177406102461703</c:v>
                </c:pt>
                <c:pt idx="28">
                  <c:v>25.185876046143257</c:v>
                </c:pt>
                <c:pt idx="29">
                  <c:v>24.258036762079001</c:v>
                </c:pt>
                <c:pt idx="30">
                  <c:v>23.424715325223094</c:v>
                </c:pt>
                <c:pt idx="31">
                  <c:v>22.712576506089398</c:v>
                </c:pt>
                <c:pt idx="32">
                  <c:v>22.082962569215169</c:v>
                </c:pt>
                <c:pt idx="33">
                  <c:v>21.546691899352457</c:v>
                </c:pt>
                <c:pt idx="34">
                  <c:v>21.075541322845769</c:v>
                </c:pt>
                <c:pt idx="35">
                  <c:v>20.670075842159633</c:v>
                </c:pt>
                <c:pt idx="36">
                  <c:v>20.306200072085225</c:v>
                </c:pt>
                <c:pt idx="37">
                  <c:v>20.002954970471158</c:v>
                </c:pt>
                <c:pt idx="38">
                  <c:v>19.744265960994198</c:v>
                </c:pt>
                <c:pt idx="39">
                  <c:v>19.508174563498805</c:v>
                </c:pt>
                <c:pt idx="40">
                  <c:v>19.31096450228825</c:v>
                </c:pt>
                <c:pt idx="41">
                  <c:v>19.125509253518146</c:v>
                </c:pt>
                <c:pt idx="42">
                  <c:v>18.953563500800087</c:v>
                </c:pt>
                <c:pt idx="43">
                  <c:v>18.786720042316141</c:v>
                </c:pt>
                <c:pt idx="44">
                  <c:v>18.631400661082928</c:v>
                </c:pt>
                <c:pt idx="45">
                  <c:v>18.480372610492154</c:v>
                </c:pt>
                <c:pt idx="46">
                  <c:v>18.336632798009262</c:v>
                </c:pt>
                <c:pt idx="47">
                  <c:v>18.197657462219897</c:v>
                </c:pt>
                <c:pt idx="48">
                  <c:v>18.057255904908359</c:v>
                </c:pt>
                <c:pt idx="49">
                  <c:v>17.921044757063925</c:v>
                </c:pt>
                <c:pt idx="50">
                  <c:v>17.778890351626284</c:v>
                </c:pt>
                <c:pt idx="51">
                  <c:v>17.637545905822495</c:v>
                </c:pt>
                <c:pt idx="52">
                  <c:v>17.497643618940138</c:v>
                </c:pt>
                <c:pt idx="53">
                  <c:v>17.359973905444939</c:v>
                </c:pt>
                <c:pt idx="54">
                  <c:v>17.218160663648383</c:v>
                </c:pt>
                <c:pt idx="55">
                  <c:v>17.078777321995521</c:v>
                </c:pt>
                <c:pt idx="56">
                  <c:v>16.939722705183655</c:v>
                </c:pt>
                <c:pt idx="57">
                  <c:v>16.800374390222771</c:v>
                </c:pt>
                <c:pt idx="58">
                  <c:v>16.659967148343309</c:v>
                </c:pt>
                <c:pt idx="59">
                  <c:v>16.519806753463971</c:v>
                </c:pt>
                <c:pt idx="60">
                  <c:v>16.38294752095694</c:v>
                </c:pt>
                <c:pt idx="61">
                  <c:v>16.246979825920334</c:v>
                </c:pt>
                <c:pt idx="62">
                  <c:v>16.111502807076139</c:v>
                </c:pt>
                <c:pt idx="63">
                  <c:v>15.979521937367368</c:v>
                </c:pt>
                <c:pt idx="64">
                  <c:v>15.843929984035817</c:v>
                </c:pt>
                <c:pt idx="65">
                  <c:v>15.710771906610475</c:v>
                </c:pt>
                <c:pt idx="66">
                  <c:v>15.579566642976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C9-4E23-AC01-F7159651108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7.318103858737608</c:v>
                </c:pt>
                <c:pt idx="27">
                  <c:v>26.266901018090003</c:v>
                </c:pt>
                <c:pt idx="28">
                  <c:v>25.354223593548831</c:v>
                </c:pt>
                <c:pt idx="29">
                  <c:v>24.521565788561475</c:v>
                </c:pt>
                <c:pt idx="30">
                  <c:v>23.806254443812062</c:v>
                </c:pt>
                <c:pt idx="31">
                  <c:v>23.239836576097542</c:v>
                </c:pt>
                <c:pt idx="32">
                  <c:v>22.788656580988054</c:v>
                </c:pt>
                <c:pt idx="33">
                  <c:v>22.466157996387423</c:v>
                </c:pt>
                <c:pt idx="34">
                  <c:v>22.238266770202895</c:v>
                </c:pt>
                <c:pt idx="35">
                  <c:v>22.103032858555594</c:v>
                </c:pt>
                <c:pt idx="36">
                  <c:v>22.037022019135403</c:v>
                </c:pt>
                <c:pt idx="37">
                  <c:v>22.061817422869325</c:v>
                </c:pt>
                <c:pt idx="38">
                  <c:v>22.16129858759966</c:v>
                </c:pt>
                <c:pt idx="39">
                  <c:v>22.311185722124058</c:v>
                </c:pt>
                <c:pt idx="40">
                  <c:v>22.524566633351654</c:v>
                </c:pt>
                <c:pt idx="41">
                  <c:v>22.771679812115764</c:v>
                </c:pt>
                <c:pt idx="42">
                  <c:v>23.053869812913369</c:v>
                </c:pt>
                <c:pt idx="43">
                  <c:v>23.362558520028884</c:v>
                </c:pt>
                <c:pt idx="44">
                  <c:v>23.703490498098795</c:v>
                </c:pt>
                <c:pt idx="45">
                  <c:v>24.067330754708856</c:v>
                </c:pt>
                <c:pt idx="46">
                  <c:v>24.455330202619951</c:v>
                </c:pt>
                <c:pt idx="47">
                  <c:v>24.863275359739994</c:v>
                </c:pt>
                <c:pt idx="48">
                  <c:v>25.284599380998994</c:v>
                </c:pt>
                <c:pt idx="49">
                  <c:v>25.724958983613199</c:v>
                </c:pt>
                <c:pt idx="50">
                  <c:v>26.173397693069752</c:v>
                </c:pt>
                <c:pt idx="51">
                  <c:v>26.635682047664112</c:v>
                </c:pt>
                <c:pt idx="52">
                  <c:v>27.111255265134773</c:v>
                </c:pt>
                <c:pt idx="53">
                  <c:v>27.60056213029717</c:v>
                </c:pt>
                <c:pt idx="54">
                  <c:v>28.097241362119192</c:v>
                </c:pt>
                <c:pt idx="55">
                  <c:v>28.607687778030048</c:v>
                </c:pt>
                <c:pt idx="56">
                  <c:v>29.129527084383604</c:v>
                </c:pt>
                <c:pt idx="57">
                  <c:v>29.661731876899974</c:v>
                </c:pt>
                <c:pt idx="58">
                  <c:v>30.203125930876155</c:v>
                </c:pt>
                <c:pt idx="59">
                  <c:v>30.75532656669559</c:v>
                </c:pt>
                <c:pt idx="60">
                  <c:v>31.321167453324417</c:v>
                </c:pt>
                <c:pt idx="61">
                  <c:v>31.89829160267989</c:v>
                </c:pt>
                <c:pt idx="62">
                  <c:v>32.486373868314928</c:v>
                </c:pt>
                <c:pt idx="63">
                  <c:v>33.088367839717293</c:v>
                </c:pt>
                <c:pt idx="64">
                  <c:v>33.69722506356154</c:v>
                </c:pt>
                <c:pt idx="65">
                  <c:v>34.318937608703671</c:v>
                </c:pt>
                <c:pt idx="66">
                  <c:v>34.9533007479292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C9-4E23-AC01-F7159651108E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8</c:v>
                </c:pt>
                <c:pt idx="1">
                  <c:v>138</c:v>
                </c:pt>
                <c:pt idx="2">
                  <c:v>138</c:v>
                </c:pt>
                <c:pt idx="3">
                  <c:v>138</c:v>
                </c:pt>
                <c:pt idx="4">
                  <c:v>138</c:v>
                </c:pt>
                <c:pt idx="5">
                  <c:v>138</c:v>
                </c:pt>
                <c:pt idx="6">
                  <c:v>138</c:v>
                </c:pt>
                <c:pt idx="7">
                  <c:v>138</c:v>
                </c:pt>
                <c:pt idx="8">
                  <c:v>138</c:v>
                </c:pt>
                <c:pt idx="9">
                  <c:v>138</c:v>
                </c:pt>
                <c:pt idx="10">
                  <c:v>138</c:v>
                </c:pt>
                <c:pt idx="11">
                  <c:v>138</c:v>
                </c:pt>
                <c:pt idx="12">
                  <c:v>138</c:v>
                </c:pt>
                <c:pt idx="13">
                  <c:v>138</c:v>
                </c:pt>
                <c:pt idx="14">
                  <c:v>138</c:v>
                </c:pt>
                <c:pt idx="15">
                  <c:v>138</c:v>
                </c:pt>
                <c:pt idx="16">
                  <c:v>138</c:v>
                </c:pt>
                <c:pt idx="17">
                  <c:v>138</c:v>
                </c:pt>
                <c:pt idx="18">
                  <c:v>138</c:v>
                </c:pt>
                <c:pt idx="19">
                  <c:v>138</c:v>
                </c:pt>
                <c:pt idx="20">
                  <c:v>138</c:v>
                </c:pt>
                <c:pt idx="21">
                  <c:v>138</c:v>
                </c:pt>
                <c:pt idx="22">
                  <c:v>138</c:v>
                </c:pt>
                <c:pt idx="23">
                  <c:v>138</c:v>
                </c:pt>
                <c:pt idx="24">
                  <c:v>138</c:v>
                </c:pt>
                <c:pt idx="25">
                  <c:v>138</c:v>
                </c:pt>
                <c:pt idx="26">
                  <c:v>138</c:v>
                </c:pt>
                <c:pt idx="27">
                  <c:v>138</c:v>
                </c:pt>
                <c:pt idx="28">
                  <c:v>138</c:v>
                </c:pt>
                <c:pt idx="29">
                  <c:v>138</c:v>
                </c:pt>
                <c:pt idx="30">
                  <c:v>138</c:v>
                </c:pt>
                <c:pt idx="31">
                  <c:v>138</c:v>
                </c:pt>
                <c:pt idx="32">
                  <c:v>138</c:v>
                </c:pt>
                <c:pt idx="33">
                  <c:v>138</c:v>
                </c:pt>
                <c:pt idx="34">
                  <c:v>138</c:v>
                </c:pt>
                <c:pt idx="35">
                  <c:v>138</c:v>
                </c:pt>
                <c:pt idx="36">
                  <c:v>138</c:v>
                </c:pt>
                <c:pt idx="37">
                  <c:v>138</c:v>
                </c:pt>
                <c:pt idx="38">
                  <c:v>138</c:v>
                </c:pt>
                <c:pt idx="39">
                  <c:v>138</c:v>
                </c:pt>
                <c:pt idx="40">
                  <c:v>138</c:v>
                </c:pt>
                <c:pt idx="41">
                  <c:v>138</c:v>
                </c:pt>
                <c:pt idx="42">
                  <c:v>138</c:v>
                </c:pt>
                <c:pt idx="43">
                  <c:v>138</c:v>
                </c:pt>
                <c:pt idx="44">
                  <c:v>138</c:v>
                </c:pt>
                <c:pt idx="45">
                  <c:v>138</c:v>
                </c:pt>
                <c:pt idx="46">
                  <c:v>138</c:v>
                </c:pt>
                <c:pt idx="47">
                  <c:v>138</c:v>
                </c:pt>
                <c:pt idx="48">
                  <c:v>138</c:v>
                </c:pt>
                <c:pt idx="49">
                  <c:v>138</c:v>
                </c:pt>
                <c:pt idx="50">
                  <c:v>138</c:v>
                </c:pt>
                <c:pt idx="51">
                  <c:v>138</c:v>
                </c:pt>
                <c:pt idx="52">
                  <c:v>138</c:v>
                </c:pt>
                <c:pt idx="53">
                  <c:v>138</c:v>
                </c:pt>
                <c:pt idx="54">
                  <c:v>138</c:v>
                </c:pt>
                <c:pt idx="55">
                  <c:v>138</c:v>
                </c:pt>
                <c:pt idx="56">
                  <c:v>138</c:v>
                </c:pt>
                <c:pt idx="57">
                  <c:v>138</c:v>
                </c:pt>
                <c:pt idx="58">
                  <c:v>138</c:v>
                </c:pt>
                <c:pt idx="59">
                  <c:v>138</c:v>
                </c:pt>
                <c:pt idx="60">
                  <c:v>138</c:v>
                </c:pt>
                <c:pt idx="61">
                  <c:v>138</c:v>
                </c:pt>
                <c:pt idx="62">
                  <c:v>138</c:v>
                </c:pt>
                <c:pt idx="63">
                  <c:v>138</c:v>
                </c:pt>
                <c:pt idx="64">
                  <c:v>138</c:v>
                </c:pt>
                <c:pt idx="65">
                  <c:v>138</c:v>
                </c:pt>
                <c:pt idx="66">
                  <c:v>1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8</c:v>
                </c:pt>
                <c:pt idx="1">
                  <c:v>25</c:v>
                </c:pt>
                <c:pt idx="2">
                  <c:v>24</c:v>
                </c:pt>
                <c:pt idx="3">
                  <c:v>22</c:v>
                </c:pt>
                <c:pt idx="4">
                  <c:v>22</c:v>
                </c:pt>
                <c:pt idx="5">
                  <c:v>22</c:v>
                </c:pt>
                <c:pt idx="6">
                  <c:v>21</c:v>
                </c:pt>
                <c:pt idx="7">
                  <c:v>21</c:v>
                </c:pt>
                <c:pt idx="8">
                  <c:v>21</c:v>
                </c:pt>
                <c:pt idx="9">
                  <c:v>18</c:v>
                </c:pt>
                <c:pt idx="10">
                  <c:v>16</c:v>
                </c:pt>
                <c:pt idx="11">
                  <c:v>15</c:v>
                </c:pt>
                <c:pt idx="12">
                  <c:v>15</c:v>
                </c:pt>
                <c:pt idx="13">
                  <c:v>13</c:v>
                </c:pt>
                <c:pt idx="14">
                  <c:v>9</c:v>
                </c:pt>
                <c:pt idx="15">
                  <c:v>7</c:v>
                </c:pt>
                <c:pt idx="16">
                  <c:v>8</c:v>
                </c:pt>
                <c:pt idx="17">
                  <c:v>6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2</c:v>
                </c:pt>
                <c:pt idx="22">
                  <c:v>1</c:v>
                </c:pt>
                <c:pt idx="23">
                  <c:v>2</c:v>
                </c:pt>
                <c:pt idx="24">
                  <c:v>3</c:v>
                </c:pt>
                <c:pt idx="25">
                  <c:v>1</c:v>
                </c:pt>
                <c:pt idx="26">
                  <c:v>1E-3</c:v>
                </c:pt>
                <c:pt idx="27">
                  <c:v>1E-3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3</c:v>
                </c:pt>
                <c:pt idx="33">
                  <c:v>3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2</c:v>
                </c:pt>
                <c:pt idx="49">
                  <c:v>2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E-3</c:v>
                </c:pt>
                <c:pt idx="59">
                  <c:v>1E-3</c:v>
                </c:pt>
                <c:pt idx="60">
                  <c:v>1E-3</c:v>
                </c:pt>
                <c:pt idx="61">
                  <c:v>1E-3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1.1809462895683565</c:v>
                </c:pt>
                <c:pt idx="27">
                  <c:v>1.1310793826083589</c:v>
                </c:pt>
                <c:pt idx="28">
                  <c:v>1.0852720711737094</c:v>
                </c:pt>
                <c:pt idx="29">
                  <c:v>1.04074258555065</c:v>
                </c:pt>
                <c:pt idx="30">
                  <c:v>0.99895528625346131</c:v>
                </c:pt>
                <c:pt idx="31">
                  <c:v>0.96105450663307823</c:v>
                </c:pt>
                <c:pt idx="32">
                  <c:v>0.92495469540359221</c:v>
                </c:pt>
                <c:pt idx="33">
                  <c:v>0.89126220960404501</c:v>
                </c:pt>
                <c:pt idx="34">
                  <c:v>0.85916699485734194</c:v>
                </c:pt>
                <c:pt idx="35">
                  <c:v>0.82898929489310025</c:v>
                </c:pt>
                <c:pt idx="36">
                  <c:v>0.79929181847959996</c:v>
                </c:pt>
                <c:pt idx="37">
                  <c:v>0.77130232972421409</c:v>
                </c:pt>
                <c:pt idx="38">
                  <c:v>0.74424160541934881</c:v>
                </c:pt>
                <c:pt idx="39">
                  <c:v>0.71735899206355536</c:v>
                </c:pt>
                <c:pt idx="40">
                  <c:v>0.69171017993127304</c:v>
                </c:pt>
                <c:pt idx="41">
                  <c:v>0.66628936039396658</c:v>
                </c:pt>
                <c:pt idx="42">
                  <c:v>0.64132382269198218</c:v>
                </c:pt>
                <c:pt idx="43">
                  <c:v>0.61644166315056736</c:v>
                </c:pt>
                <c:pt idx="44">
                  <c:v>0.59211445569682419</c:v>
                </c:pt>
                <c:pt idx="45">
                  <c:v>0.56793612025191997</c:v>
                </c:pt>
                <c:pt idx="46">
                  <c:v>0.54436439499065481</c:v>
                </c:pt>
                <c:pt idx="47">
                  <c:v>0.52137710746282273</c:v>
                </c:pt>
                <c:pt idx="48">
                  <c:v>0.49875865531584129</c:v>
                </c:pt>
                <c:pt idx="49">
                  <c:v>0.47684131406697483</c:v>
                </c:pt>
                <c:pt idx="50">
                  <c:v>0.45517280590615694</c:v>
                </c:pt>
                <c:pt idx="51">
                  <c:v>0.43407715931904733</c:v>
                </c:pt>
                <c:pt idx="52">
                  <c:v>0.41360249331333154</c:v>
                </c:pt>
                <c:pt idx="53">
                  <c:v>0.3938092660906245</c:v>
                </c:pt>
                <c:pt idx="54">
                  <c:v>0.37443616605118268</c:v>
                </c:pt>
                <c:pt idx="55">
                  <c:v>0.3558628353863913</c:v>
                </c:pt>
                <c:pt idx="56">
                  <c:v>0.33792204612017607</c:v>
                </c:pt>
                <c:pt idx="57">
                  <c:v>0.32061440410319619</c:v>
                </c:pt>
                <c:pt idx="58">
                  <c:v>0.30386868329445682</c:v>
                </c:pt>
                <c:pt idx="59">
                  <c:v>0.28780360960716844</c:v>
                </c:pt>
                <c:pt idx="60">
                  <c:v>0.27244951632677217</c:v>
                </c:pt>
                <c:pt idx="61">
                  <c:v>0.25768039975008938</c:v>
                </c:pt>
                <c:pt idx="62">
                  <c:v>0.24355705603885719</c:v>
                </c:pt>
                <c:pt idx="63">
                  <c:v>0.23014728410181395</c:v>
                </c:pt>
                <c:pt idx="64">
                  <c:v>0.21709087661167814</c:v>
                </c:pt>
                <c:pt idx="65">
                  <c:v>0.20467105535492874</c:v>
                </c:pt>
                <c:pt idx="66">
                  <c:v>0.192836041408945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1F-4726-9BB0-CA47B0E9C0B9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1.1818621022060989</c:v>
                </c:pt>
                <c:pt idx="27">
                  <c:v>1.133670538976999</c:v>
                </c:pt>
                <c:pt idx="28">
                  <c:v>1.0901476837369053</c:v>
                </c:pt>
                <c:pt idx="29">
                  <c:v>1.0483843274028546</c:v>
                </c:pt>
                <c:pt idx="30">
                  <c:v>1.0099300964565825</c:v>
                </c:pt>
                <c:pt idx="31">
                  <c:v>0.97599328285684139</c:v>
                </c:pt>
                <c:pt idx="32">
                  <c:v>0.94457079688965062</c:v>
                </c:pt>
                <c:pt idx="33">
                  <c:v>0.91629321481549153</c:v>
                </c:pt>
                <c:pt idx="34">
                  <c:v>0.89019058980872701</c:v>
                </c:pt>
                <c:pt idx="35">
                  <c:v>0.86648332864153721</c:v>
                </c:pt>
                <c:pt idx="36">
                  <c:v>0.84366384412342765</c:v>
                </c:pt>
                <c:pt idx="37">
                  <c:v>0.82291612153119975</c:v>
                </c:pt>
                <c:pt idx="38">
                  <c:v>0.8034025481073418</c:v>
                </c:pt>
                <c:pt idx="39">
                  <c:v>0.78428105413686344</c:v>
                </c:pt>
                <c:pt idx="40">
                  <c:v>0.76649739311092946</c:v>
                </c:pt>
                <c:pt idx="41">
                  <c:v>0.74893558064107224</c:v>
                </c:pt>
                <c:pt idx="42">
                  <c:v>0.7317656978296162</c:v>
                </c:pt>
                <c:pt idx="43">
                  <c:v>0.71455453655906553</c:v>
                </c:pt>
                <c:pt idx="44">
                  <c:v>0.69771855146067874</c:v>
                </c:pt>
                <c:pt idx="45">
                  <c:v>0.68079931237248004</c:v>
                </c:pt>
                <c:pt idx="46">
                  <c:v>0.66422085937714437</c:v>
                </c:pt>
                <c:pt idx="47">
                  <c:v>0.64791481856011668</c:v>
                </c:pt>
                <c:pt idx="48">
                  <c:v>0.63162421658334666</c:v>
                </c:pt>
                <c:pt idx="49">
                  <c:v>0.61567758789818638</c:v>
                </c:pt>
                <c:pt idx="50">
                  <c:v>0.59959501787987368</c:v>
                </c:pt>
                <c:pt idx="51">
                  <c:v>0.58369422386163061</c:v>
                </c:pt>
                <c:pt idx="52">
                  <c:v>0.56801664905210369</c:v>
                </c:pt>
                <c:pt idx="53">
                  <c:v>0.55262140470016741</c:v>
                </c:pt>
                <c:pt idx="54">
                  <c:v>0.53724706550818613</c:v>
                </c:pt>
                <c:pt idx="55">
                  <c:v>0.52228207654942238</c:v>
                </c:pt>
                <c:pt idx="56">
                  <c:v>0.50756466963096658</c:v>
                </c:pt>
                <c:pt idx="57">
                  <c:v>0.49310831429253155</c:v>
                </c:pt>
                <c:pt idx="58">
                  <c:v>0.47885183515203733</c:v>
                </c:pt>
                <c:pt idx="59">
                  <c:v>0.4649283594682822</c:v>
                </c:pt>
                <c:pt idx="60">
                  <c:v>0.45137809083111696</c:v>
                </c:pt>
                <c:pt idx="61">
                  <c:v>0.43809991113532049</c:v>
                </c:pt>
                <c:pt idx="62">
                  <c:v>0.42516033041052448</c:v>
                </c:pt>
                <c:pt idx="63">
                  <c:v>0.41265020874670927</c:v>
                </c:pt>
                <c:pt idx="64">
                  <c:v>0.40022028635470586</c:v>
                </c:pt>
                <c:pt idx="65">
                  <c:v>0.38816962300156643</c:v>
                </c:pt>
                <c:pt idx="66">
                  <c:v>0.376456690487169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1F-4726-9BB0-CA47B0E9C0B9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1.1827709768693127</c:v>
                </c:pt>
                <c:pt idx="27">
                  <c:v>1.1362527876974204</c:v>
                </c:pt>
                <c:pt idx="28">
                  <c:v>1.0950128983870997</c:v>
                </c:pt>
                <c:pt idx="29">
                  <c:v>1.056014415772057</c:v>
                </c:pt>
                <c:pt idx="30">
                  <c:v>1.0209337292001157</c:v>
                </c:pt>
                <c:pt idx="31">
                  <c:v>0.99108273630193389</c:v>
                </c:pt>
                <c:pt idx="32">
                  <c:v>0.96457810917284337</c:v>
                </c:pt>
                <c:pt idx="33">
                  <c:v>0.94209457436023947</c:v>
                </c:pt>
                <c:pt idx="34">
                  <c:v>0.92249790151374511</c:v>
                </c:pt>
                <c:pt idx="35">
                  <c:v>0.90590981423582639</c:v>
                </c:pt>
                <c:pt idx="36">
                  <c:v>0.89080177225884194</c:v>
                </c:pt>
                <c:pt idx="37">
                  <c:v>0.87836033673068803</c:v>
                </c:pt>
                <c:pt idx="38">
                  <c:v>0.86769592544908236</c:v>
                </c:pt>
                <c:pt idx="39">
                  <c:v>0.85787838964924856</c:v>
                </c:pt>
                <c:pt idx="40">
                  <c:v>0.84976795306139918</c:v>
                </c:pt>
                <c:pt idx="41">
                  <c:v>0.84213755527661904</c:v>
                </c:pt>
                <c:pt idx="42">
                  <c:v>0.83508799766788466</c:v>
                </c:pt>
                <c:pt idx="43">
                  <c:v>0.82814720716406542</c:v>
                </c:pt>
                <c:pt idx="44">
                  <c:v>0.82169613039876477</c:v>
                </c:pt>
                <c:pt idx="45">
                  <c:v>0.81521068480383085</c:v>
                </c:pt>
                <c:pt idx="46">
                  <c:v>0.80904015651242023</c:v>
                </c:pt>
                <c:pt idx="47">
                  <c:v>0.80306427425280957</c:v>
                </c:pt>
                <c:pt idx="48">
                  <c:v>0.79700382759339938</c:v>
                </c:pt>
                <c:pt idx="49">
                  <c:v>0.79114478722962889</c:v>
                </c:pt>
                <c:pt idx="50">
                  <c:v>0.78499069640518326</c:v>
                </c:pt>
                <c:pt idx="51">
                  <c:v>0.77882167661493651</c:v>
                </c:pt>
                <c:pt idx="52">
                  <c:v>0.77266051864681495</c:v>
                </c:pt>
                <c:pt idx="53">
                  <c:v>0.76654350647656067</c:v>
                </c:pt>
                <c:pt idx="54">
                  <c:v>0.76019458449055999</c:v>
                </c:pt>
                <c:pt idx="55">
                  <c:v>0.75400811393498923</c:v>
                </c:pt>
                <c:pt idx="56">
                  <c:v>0.74780398368899703</c:v>
                </c:pt>
                <c:pt idx="57">
                  <c:v>0.74158744558659961</c:v>
                </c:pt>
                <c:pt idx="58">
                  <c:v>0.73530572962725582</c:v>
                </c:pt>
                <c:pt idx="59">
                  <c:v>0.72906873783669757</c:v>
                </c:pt>
                <c:pt idx="60">
                  <c:v>0.72293065053574179</c:v>
                </c:pt>
                <c:pt idx="61">
                  <c:v>0.71678575797088062</c:v>
                </c:pt>
                <c:pt idx="62">
                  <c:v>0.71070660639165972</c:v>
                </c:pt>
                <c:pt idx="63">
                  <c:v>0.70478427985905223</c:v>
                </c:pt>
                <c:pt idx="64">
                  <c:v>0.69867030492393689</c:v>
                </c:pt>
                <c:pt idx="65">
                  <c:v>0.692675848384389</c:v>
                </c:pt>
                <c:pt idx="66">
                  <c:v>0.686757279427800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D1F-4726-9BB0-CA47B0E9C0B9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1.1841377578513979</c:v>
                </c:pt>
                <c:pt idx="27">
                  <c:v>1.1401375525766904</c:v>
                </c:pt>
                <c:pt idx="28">
                  <c:v>1.102328295954375</c:v>
                </c:pt>
                <c:pt idx="29">
                  <c:v>1.0674802268044727</c:v>
                </c:pt>
                <c:pt idx="30">
                  <c:v>1.0375560960644303</c:v>
                </c:pt>
                <c:pt idx="31">
                  <c:v>1.0140881740711727</c:v>
                </c:pt>
                <c:pt idx="32">
                  <c:v>0.99542469667271694</c:v>
                </c:pt>
                <c:pt idx="33">
                  <c:v>0.98235851706791277</c:v>
                </c:pt>
                <c:pt idx="34">
                  <c:v>0.97350328583480872</c:v>
                </c:pt>
                <c:pt idx="35">
                  <c:v>0.9688805867697925</c:v>
                </c:pt>
                <c:pt idx="36">
                  <c:v>0.96699022867571283</c:v>
                </c:pt>
                <c:pt idx="37">
                  <c:v>0.96912331040458044</c:v>
                </c:pt>
                <c:pt idx="38">
                  <c:v>0.97439137973388712</c:v>
                </c:pt>
                <c:pt idx="39">
                  <c:v>0.98176294225693894</c:v>
                </c:pt>
                <c:pt idx="40">
                  <c:v>0.99196276452061871</c:v>
                </c:pt>
                <c:pt idx="41">
                  <c:v>1.0036421650303018</c:v>
                </c:pt>
                <c:pt idx="42">
                  <c:v>1.0168817329143385</c:v>
                </c:pt>
                <c:pt idx="43">
                  <c:v>1.0312007377118988</c:v>
                </c:pt>
                <c:pt idx="44">
                  <c:v>1.0469494221839901</c:v>
                </c:pt>
                <c:pt idx="45">
                  <c:v>1.0635124665484486</c:v>
                </c:pt>
                <c:pt idx="46">
                  <c:v>1.0811606790060269</c:v>
                </c:pt>
                <c:pt idx="47">
                  <c:v>1.0996976708800115</c:v>
                </c:pt>
                <c:pt idx="48">
                  <c:v>1.1188258834722602</c:v>
                </c:pt>
                <c:pt idx="49">
                  <c:v>1.1388321297877857</c:v>
                </c:pt>
                <c:pt idx="50">
                  <c:v>1.1591818477716282</c:v>
                </c:pt>
                <c:pt idx="51">
                  <c:v>1.1801105826894425</c:v>
                </c:pt>
                <c:pt idx="52">
                  <c:v>1.2015873968086803</c:v>
                </c:pt>
                <c:pt idx="53">
                  <c:v>1.2236317857174348</c:v>
                </c:pt>
                <c:pt idx="54">
                  <c:v>1.2459666102980227</c:v>
                </c:pt>
                <c:pt idx="55">
                  <c:v>1.2689789518827543</c:v>
                </c:pt>
                <c:pt idx="56">
                  <c:v>1.2924766489938015</c:v>
                </c:pt>
                <c:pt idx="57">
                  <c:v>1.3164456284802371</c:v>
                </c:pt>
                <c:pt idx="58">
                  <c:v>1.340814267055946</c:v>
                </c:pt>
                <c:pt idx="59">
                  <c:v>1.3657048225196144</c:v>
                </c:pt>
                <c:pt idx="60">
                  <c:v>1.3911616943910183</c:v>
                </c:pt>
                <c:pt idx="61">
                  <c:v>1.4170816540401872</c:v>
                </c:pt>
                <c:pt idx="62">
                  <c:v>1.443540597456306</c:v>
                </c:pt>
                <c:pt idx="63">
                  <c:v>1.4706273783724255</c:v>
                </c:pt>
                <c:pt idx="64">
                  <c:v>1.4979951756908496</c:v>
                </c:pt>
                <c:pt idx="65">
                  <c:v>1.525952617521678</c:v>
                </c:pt>
                <c:pt idx="66">
                  <c:v>1.5544683436016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D1F-4726-9BB0-CA47B0E9C0B9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2</c:v>
                </c:pt>
                <c:pt idx="1">
                  <c:v>62</c:v>
                </c:pt>
                <c:pt idx="2">
                  <c:v>62</c:v>
                </c:pt>
                <c:pt idx="3">
                  <c:v>62</c:v>
                </c:pt>
                <c:pt idx="4">
                  <c:v>62</c:v>
                </c:pt>
                <c:pt idx="5">
                  <c:v>62</c:v>
                </c:pt>
                <c:pt idx="6">
                  <c:v>62</c:v>
                </c:pt>
                <c:pt idx="7">
                  <c:v>62</c:v>
                </c:pt>
                <c:pt idx="8">
                  <c:v>62</c:v>
                </c:pt>
                <c:pt idx="9">
                  <c:v>62</c:v>
                </c:pt>
                <c:pt idx="10">
                  <c:v>62</c:v>
                </c:pt>
                <c:pt idx="11">
                  <c:v>62</c:v>
                </c:pt>
                <c:pt idx="12">
                  <c:v>62</c:v>
                </c:pt>
                <c:pt idx="13">
                  <c:v>62</c:v>
                </c:pt>
                <c:pt idx="14">
                  <c:v>62</c:v>
                </c:pt>
                <c:pt idx="15">
                  <c:v>62</c:v>
                </c:pt>
                <c:pt idx="16">
                  <c:v>62</c:v>
                </c:pt>
                <c:pt idx="17">
                  <c:v>62</c:v>
                </c:pt>
                <c:pt idx="18">
                  <c:v>62</c:v>
                </c:pt>
                <c:pt idx="19">
                  <c:v>62</c:v>
                </c:pt>
                <c:pt idx="20">
                  <c:v>62</c:v>
                </c:pt>
                <c:pt idx="21">
                  <c:v>62</c:v>
                </c:pt>
                <c:pt idx="22">
                  <c:v>62</c:v>
                </c:pt>
                <c:pt idx="23">
                  <c:v>62</c:v>
                </c:pt>
                <c:pt idx="24">
                  <c:v>62</c:v>
                </c:pt>
                <c:pt idx="25">
                  <c:v>62</c:v>
                </c:pt>
                <c:pt idx="26">
                  <c:v>62</c:v>
                </c:pt>
                <c:pt idx="27">
                  <c:v>62</c:v>
                </c:pt>
                <c:pt idx="28">
                  <c:v>62</c:v>
                </c:pt>
                <c:pt idx="29">
                  <c:v>62</c:v>
                </c:pt>
                <c:pt idx="30">
                  <c:v>62</c:v>
                </c:pt>
                <c:pt idx="31">
                  <c:v>62</c:v>
                </c:pt>
                <c:pt idx="32">
                  <c:v>62</c:v>
                </c:pt>
                <c:pt idx="33">
                  <c:v>62</c:v>
                </c:pt>
                <c:pt idx="34">
                  <c:v>62</c:v>
                </c:pt>
                <c:pt idx="35">
                  <c:v>62</c:v>
                </c:pt>
                <c:pt idx="36">
                  <c:v>62</c:v>
                </c:pt>
                <c:pt idx="37">
                  <c:v>62</c:v>
                </c:pt>
                <c:pt idx="38">
                  <c:v>62</c:v>
                </c:pt>
                <c:pt idx="39">
                  <c:v>62</c:v>
                </c:pt>
                <c:pt idx="40">
                  <c:v>62</c:v>
                </c:pt>
                <c:pt idx="41">
                  <c:v>62</c:v>
                </c:pt>
                <c:pt idx="42">
                  <c:v>62</c:v>
                </c:pt>
                <c:pt idx="43">
                  <c:v>62</c:v>
                </c:pt>
                <c:pt idx="44">
                  <c:v>62</c:v>
                </c:pt>
                <c:pt idx="45">
                  <c:v>62</c:v>
                </c:pt>
                <c:pt idx="46">
                  <c:v>62</c:v>
                </c:pt>
                <c:pt idx="47">
                  <c:v>62</c:v>
                </c:pt>
                <c:pt idx="48">
                  <c:v>62</c:v>
                </c:pt>
                <c:pt idx="49">
                  <c:v>62</c:v>
                </c:pt>
                <c:pt idx="50">
                  <c:v>62</c:v>
                </c:pt>
                <c:pt idx="51">
                  <c:v>62</c:v>
                </c:pt>
                <c:pt idx="52">
                  <c:v>62</c:v>
                </c:pt>
                <c:pt idx="53">
                  <c:v>62</c:v>
                </c:pt>
                <c:pt idx="54">
                  <c:v>62</c:v>
                </c:pt>
                <c:pt idx="55">
                  <c:v>62</c:v>
                </c:pt>
                <c:pt idx="56">
                  <c:v>62</c:v>
                </c:pt>
                <c:pt idx="57">
                  <c:v>62</c:v>
                </c:pt>
                <c:pt idx="58">
                  <c:v>62</c:v>
                </c:pt>
                <c:pt idx="59">
                  <c:v>62</c:v>
                </c:pt>
                <c:pt idx="60">
                  <c:v>62</c:v>
                </c:pt>
                <c:pt idx="61">
                  <c:v>62</c:v>
                </c:pt>
                <c:pt idx="62">
                  <c:v>62</c:v>
                </c:pt>
                <c:pt idx="63">
                  <c:v>62</c:v>
                </c:pt>
                <c:pt idx="64">
                  <c:v>62</c:v>
                </c:pt>
                <c:pt idx="65">
                  <c:v>62</c:v>
                </c:pt>
                <c:pt idx="66">
                  <c:v>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39</c:v>
                </c:pt>
                <c:pt idx="1">
                  <c:v>138</c:v>
                </c:pt>
                <c:pt idx="2">
                  <c:v>109</c:v>
                </c:pt>
                <c:pt idx="3">
                  <c:v>112</c:v>
                </c:pt>
                <c:pt idx="4">
                  <c:v>107</c:v>
                </c:pt>
                <c:pt idx="5">
                  <c:v>130</c:v>
                </c:pt>
                <c:pt idx="6">
                  <c:v>137</c:v>
                </c:pt>
                <c:pt idx="7">
                  <c:v>122</c:v>
                </c:pt>
                <c:pt idx="8">
                  <c:v>105</c:v>
                </c:pt>
                <c:pt idx="9">
                  <c:v>110</c:v>
                </c:pt>
                <c:pt idx="10">
                  <c:v>114</c:v>
                </c:pt>
                <c:pt idx="11">
                  <c:v>124</c:v>
                </c:pt>
                <c:pt idx="12">
                  <c:v>122</c:v>
                </c:pt>
                <c:pt idx="13">
                  <c:v>122</c:v>
                </c:pt>
                <c:pt idx="14">
                  <c:v>111</c:v>
                </c:pt>
                <c:pt idx="15">
                  <c:v>108</c:v>
                </c:pt>
                <c:pt idx="16">
                  <c:v>109</c:v>
                </c:pt>
                <c:pt idx="17">
                  <c:v>104</c:v>
                </c:pt>
                <c:pt idx="18">
                  <c:v>116</c:v>
                </c:pt>
                <c:pt idx="19">
                  <c:v>113</c:v>
                </c:pt>
                <c:pt idx="20">
                  <c:v>107</c:v>
                </c:pt>
                <c:pt idx="21">
                  <c:v>95</c:v>
                </c:pt>
                <c:pt idx="22">
                  <c:v>90</c:v>
                </c:pt>
                <c:pt idx="23">
                  <c:v>87</c:v>
                </c:pt>
                <c:pt idx="24">
                  <c:v>89</c:v>
                </c:pt>
                <c:pt idx="25">
                  <c:v>84</c:v>
                </c:pt>
                <c:pt idx="26">
                  <c:v>84</c:v>
                </c:pt>
                <c:pt idx="27">
                  <c:v>81</c:v>
                </c:pt>
                <c:pt idx="28">
                  <c:v>82</c:v>
                </c:pt>
                <c:pt idx="29">
                  <c:v>74</c:v>
                </c:pt>
                <c:pt idx="30">
                  <c:v>65</c:v>
                </c:pt>
                <c:pt idx="31">
                  <c:v>65</c:v>
                </c:pt>
                <c:pt idx="32">
                  <c:v>70</c:v>
                </c:pt>
                <c:pt idx="33">
                  <c:v>68</c:v>
                </c:pt>
                <c:pt idx="34">
                  <c:v>62</c:v>
                </c:pt>
                <c:pt idx="35">
                  <c:v>52</c:v>
                </c:pt>
                <c:pt idx="36">
                  <c:v>48</c:v>
                </c:pt>
                <c:pt idx="37">
                  <c:v>49</c:v>
                </c:pt>
                <c:pt idx="38">
                  <c:v>54</c:v>
                </c:pt>
                <c:pt idx="39">
                  <c:v>59</c:v>
                </c:pt>
                <c:pt idx="40">
                  <c:v>53</c:v>
                </c:pt>
                <c:pt idx="41">
                  <c:v>51</c:v>
                </c:pt>
                <c:pt idx="42">
                  <c:v>51</c:v>
                </c:pt>
                <c:pt idx="43">
                  <c:v>47</c:v>
                </c:pt>
                <c:pt idx="44">
                  <c:v>44</c:v>
                </c:pt>
                <c:pt idx="45">
                  <c:v>44</c:v>
                </c:pt>
                <c:pt idx="46">
                  <c:v>41</c:v>
                </c:pt>
                <c:pt idx="47">
                  <c:v>33</c:v>
                </c:pt>
                <c:pt idx="48">
                  <c:v>32</c:v>
                </c:pt>
                <c:pt idx="49">
                  <c:v>27</c:v>
                </c:pt>
                <c:pt idx="50">
                  <c:v>30</c:v>
                </c:pt>
                <c:pt idx="51">
                  <c:v>26</c:v>
                </c:pt>
                <c:pt idx="52">
                  <c:v>28</c:v>
                </c:pt>
                <c:pt idx="53">
                  <c:v>27</c:v>
                </c:pt>
                <c:pt idx="54">
                  <c:v>28</c:v>
                </c:pt>
                <c:pt idx="55">
                  <c:v>27</c:v>
                </c:pt>
                <c:pt idx="56">
                  <c:v>18</c:v>
                </c:pt>
                <c:pt idx="57">
                  <c:v>14</c:v>
                </c:pt>
                <c:pt idx="58">
                  <c:v>10</c:v>
                </c:pt>
                <c:pt idx="59">
                  <c:v>12</c:v>
                </c:pt>
                <c:pt idx="60">
                  <c:v>16</c:v>
                </c:pt>
                <c:pt idx="61">
                  <c:v>13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82.101894242971696</c:v>
                </c:pt>
                <c:pt idx="27">
                  <c:v>78.444148975363333</c:v>
                </c:pt>
                <c:pt idx="28">
                  <c:v>75.048980462119232</c:v>
                </c:pt>
                <c:pt idx="29">
                  <c:v>71.808092032222277</c:v>
                </c:pt>
                <c:pt idx="30">
                  <c:v>68.782404561530058</c:v>
                </c:pt>
                <c:pt idx="31">
                  <c:v>66.033854099694793</c:v>
                </c:pt>
                <c:pt idx="32">
                  <c:v>63.445067703587227</c:v>
                </c:pt>
                <c:pt idx="33">
                  <c:v>61.033577259443888</c:v>
                </c:pt>
                <c:pt idx="34">
                  <c:v>58.732229309064451</c:v>
                </c:pt>
                <c:pt idx="35">
                  <c:v>56.55244409908979</c:v>
                </c:pt>
                <c:pt idx="36">
                  <c:v>54.452985055483438</c:v>
                </c:pt>
                <c:pt idx="37">
                  <c:v>52.473599819255661</c:v>
                </c:pt>
                <c:pt idx="38">
                  <c:v>50.583695411230963</c:v>
                </c:pt>
                <c:pt idx="39">
                  <c:v>48.727726265437987</c:v>
                </c:pt>
                <c:pt idx="40">
                  <c:v>46.960274996955349</c:v>
                </c:pt>
                <c:pt idx="41">
                  <c:v>45.216112261456779</c:v>
                </c:pt>
                <c:pt idx="42">
                  <c:v>43.507211611338178</c:v>
                </c:pt>
                <c:pt idx="43">
                  <c:v>41.820332254668415</c:v>
                </c:pt>
                <c:pt idx="44">
                  <c:v>40.17509053238085</c:v>
                </c:pt>
                <c:pt idx="45">
                  <c:v>38.568676546020868</c:v>
                </c:pt>
                <c:pt idx="46">
                  <c:v>37.005397841858525</c:v>
                </c:pt>
                <c:pt idx="47">
                  <c:v>35.484373385444293</c:v>
                </c:pt>
                <c:pt idx="48">
                  <c:v>33.991476221528032</c:v>
                </c:pt>
                <c:pt idx="49">
                  <c:v>32.544285685789532</c:v>
                </c:pt>
                <c:pt idx="50">
                  <c:v>31.117793464446592</c:v>
                </c:pt>
                <c:pt idx="51">
                  <c:v>29.73563643904102</c:v>
                </c:pt>
                <c:pt idx="52">
                  <c:v>28.401342940055763</c:v>
                </c:pt>
                <c:pt idx="53">
                  <c:v>27.11855655130806</c:v>
                </c:pt>
                <c:pt idx="54">
                  <c:v>25.868804602875567</c:v>
                </c:pt>
                <c:pt idx="55">
                  <c:v>24.665143414361189</c:v>
                </c:pt>
                <c:pt idx="56">
                  <c:v>23.506787103305619</c:v>
                </c:pt>
                <c:pt idx="57">
                  <c:v>22.389646176835818</c:v>
                </c:pt>
                <c:pt idx="58">
                  <c:v>21.311050120368932</c:v>
                </c:pt>
                <c:pt idx="59">
                  <c:v>20.272597562055275</c:v>
                </c:pt>
                <c:pt idx="60">
                  <c:v>19.286016777240459</c:v>
                </c:pt>
                <c:pt idx="61">
                  <c:v>18.342755596823814</c:v>
                </c:pt>
                <c:pt idx="62">
                  <c:v>17.436130507243323</c:v>
                </c:pt>
                <c:pt idx="63">
                  <c:v>16.575732205765554</c:v>
                </c:pt>
                <c:pt idx="64">
                  <c:v>15.74142323420115</c:v>
                </c:pt>
                <c:pt idx="65">
                  <c:v>14.946910403130993</c:v>
                </c:pt>
                <c:pt idx="66">
                  <c:v>14.1914756580533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C6E-45B1-9788-DD6A4159100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82.165251224670143</c:v>
                </c:pt>
                <c:pt idx="27">
                  <c:v>78.623843152024008</c:v>
                </c:pt>
                <c:pt idx="28">
                  <c:v>75.386454338496065</c:v>
                </c:pt>
                <c:pt idx="29">
                  <c:v>72.335862822211638</c:v>
                </c:pt>
                <c:pt idx="30">
                  <c:v>69.538567718339024</c:v>
                </c:pt>
                <c:pt idx="31">
                  <c:v>67.060214650065348</c:v>
                </c:pt>
                <c:pt idx="32">
                  <c:v>64.788071825965758</c:v>
                </c:pt>
                <c:pt idx="33">
                  <c:v>62.741110883461907</c:v>
                </c:pt>
                <c:pt idx="34">
                  <c:v>60.841062516981978</c:v>
                </c:pt>
                <c:pt idx="35">
                  <c:v>59.09193241379046</c:v>
                </c:pt>
                <c:pt idx="36">
                  <c:v>57.44792159167897</c:v>
                </c:pt>
                <c:pt idx="37">
                  <c:v>55.946520125799111</c:v>
                </c:pt>
                <c:pt idx="38">
                  <c:v>54.553146112140993</c:v>
                </c:pt>
                <c:pt idx="39">
                  <c:v>53.206334013529613</c:v>
                </c:pt>
                <c:pt idx="40">
                  <c:v>51.953033949445725</c:v>
                </c:pt>
                <c:pt idx="41">
                  <c:v>50.721175447153513</c:v>
                </c:pt>
                <c:pt idx="42">
                  <c:v>49.519210013753764</c:v>
                </c:pt>
                <c:pt idx="43">
                  <c:v>48.32993776560653</c:v>
                </c:pt>
                <c:pt idx="44">
                  <c:v>47.169467594741967</c:v>
                </c:pt>
                <c:pt idx="45">
                  <c:v>46.031543134244657</c:v>
                </c:pt>
                <c:pt idx="46">
                  <c:v>44.918499110485044</c:v>
                </c:pt>
                <c:pt idx="47">
                  <c:v>43.826563714139851</c:v>
                </c:pt>
                <c:pt idx="48">
                  <c:v>42.738937869397787</c:v>
                </c:pt>
                <c:pt idx="49">
                  <c:v>41.6731048385561</c:v>
                </c:pt>
                <c:pt idx="50">
                  <c:v>40.60243893357454</c:v>
                </c:pt>
                <c:pt idx="51">
                  <c:v>39.550289515405808</c:v>
                </c:pt>
                <c:pt idx="52">
                  <c:v>38.519895303499922</c:v>
                </c:pt>
                <c:pt idx="53">
                  <c:v>37.51493896863375</c:v>
                </c:pt>
                <c:pt idx="54">
                  <c:v>36.517048641035977</c:v>
                </c:pt>
                <c:pt idx="55">
                  <c:v>35.539819654850149</c:v>
                </c:pt>
                <c:pt idx="56">
                  <c:v>34.582833924790137</c:v>
                </c:pt>
                <c:pt idx="57">
                  <c:v>33.64297941355467</c:v>
                </c:pt>
                <c:pt idx="58">
                  <c:v>32.71829388370567</c:v>
                </c:pt>
                <c:pt idx="59">
                  <c:v>31.811399294202332</c:v>
                </c:pt>
                <c:pt idx="60">
                  <c:v>30.934667916829888</c:v>
                </c:pt>
                <c:pt idx="61">
                  <c:v>30.081196311787426</c:v>
                </c:pt>
                <c:pt idx="62">
                  <c:v>29.244650591842312</c:v>
                </c:pt>
                <c:pt idx="63">
                  <c:v>28.436115351816511</c:v>
                </c:pt>
                <c:pt idx="64">
                  <c:v>27.636217096714326</c:v>
                </c:pt>
                <c:pt idx="65">
                  <c:v>26.859701105692992</c:v>
                </c:pt>
                <c:pt idx="66">
                  <c:v>26.1064832203544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C6E-45B1-9788-DD6A4159100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82.228128229234514</c:v>
                </c:pt>
                <c:pt idx="27">
                  <c:v>78.802917792008103</c:v>
                </c:pt>
                <c:pt idx="28">
                  <c:v>75.723212654639781</c:v>
                </c:pt>
                <c:pt idx="29">
                  <c:v>72.862834407042726</c:v>
                </c:pt>
                <c:pt idx="30">
                  <c:v>70.296737008376311</c:v>
                </c:pt>
                <c:pt idx="31">
                  <c:v>68.097041142346811</c:v>
                </c:pt>
                <c:pt idx="32">
                  <c:v>66.158206357972929</c:v>
                </c:pt>
                <c:pt idx="33">
                  <c:v>64.501978269065404</c:v>
                </c:pt>
                <c:pt idx="34">
                  <c:v>63.038604706232547</c:v>
                </c:pt>
                <c:pt idx="35">
                  <c:v>61.764659262506235</c:v>
                </c:pt>
                <c:pt idx="36">
                  <c:v>60.633066895397789</c:v>
                </c:pt>
                <c:pt idx="37">
                  <c:v>59.682153580953369</c:v>
                </c:pt>
                <c:pt idx="38">
                  <c:v>58.87364952583016</c:v>
                </c:pt>
                <c:pt idx="39">
                  <c:v>58.140240132545827</c:v>
                </c:pt>
                <c:pt idx="40">
                  <c:v>57.522852338138932</c:v>
                </c:pt>
                <c:pt idx="41">
                  <c:v>56.942443002804524</c:v>
                </c:pt>
                <c:pt idx="42">
                  <c:v>56.402994677259571</c:v>
                </c:pt>
                <c:pt idx="43">
                  <c:v>55.884851046371111</c:v>
                </c:pt>
                <c:pt idx="44">
                  <c:v>55.401952625204686</c:v>
                </c:pt>
                <c:pt idx="45">
                  <c:v>54.943611212206349</c:v>
                </c:pt>
                <c:pt idx="46">
                  <c:v>54.50728557341894</c:v>
                </c:pt>
                <c:pt idx="47">
                  <c:v>54.085944082929757</c:v>
                </c:pt>
                <c:pt idx="48">
                  <c:v>53.661504390462497</c:v>
                </c:pt>
                <c:pt idx="49">
                  <c:v>53.248649686075893</c:v>
                </c:pt>
                <c:pt idx="50">
                  <c:v>52.819859628245908</c:v>
                </c:pt>
                <c:pt idx="51">
                  <c:v>52.396149859421335</c:v>
                </c:pt>
                <c:pt idx="52">
                  <c:v>51.979668821763262</c:v>
                </c:pt>
                <c:pt idx="53">
                  <c:v>51.572691732219617</c:v>
                </c:pt>
                <c:pt idx="54">
                  <c:v>51.155987185459409</c:v>
                </c:pt>
                <c:pt idx="55">
                  <c:v>50.743591796505598</c:v>
                </c:pt>
                <c:pt idx="56">
                  <c:v>50.333870197878788</c:v>
                </c:pt>
                <c:pt idx="57">
                  <c:v>49.92324651348757</c:v>
                </c:pt>
                <c:pt idx="58">
                  <c:v>49.510448648381811</c:v>
                </c:pt>
                <c:pt idx="59">
                  <c:v>49.096599872473263</c:v>
                </c:pt>
                <c:pt idx="60">
                  <c:v>48.695030045311398</c:v>
                </c:pt>
                <c:pt idx="61">
                  <c:v>48.298544344413827</c:v>
                </c:pt>
                <c:pt idx="62">
                  <c:v>47.901191390343499</c:v>
                </c:pt>
                <c:pt idx="63">
                  <c:v>47.514095505482061</c:v>
                </c:pt>
                <c:pt idx="64">
                  <c:v>47.11797033065217</c:v>
                </c:pt>
                <c:pt idx="65">
                  <c:v>46.728440102759009</c:v>
                </c:pt>
                <c:pt idx="66">
                  <c:v>46.3452567179586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C6E-45B1-9788-DD6A4159100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82.322683724648115</c:v>
                </c:pt>
                <c:pt idx="27">
                  <c:v>79.072319497456618</c:v>
                </c:pt>
                <c:pt idx="28">
                  <c:v>76.229567434215539</c:v>
                </c:pt>
                <c:pt idx="29">
                  <c:v>73.654716715439918</c:v>
                </c:pt>
                <c:pt idx="30">
                  <c:v>71.442064484805243</c:v>
                </c:pt>
                <c:pt idx="31">
                  <c:v>69.677982671062622</c:v>
                </c:pt>
                <c:pt idx="32">
                  <c:v>68.271227129750883</c:v>
                </c:pt>
                <c:pt idx="33">
                  <c:v>67.251225605520972</c:v>
                </c:pt>
                <c:pt idx="34">
                  <c:v>66.510515554289213</c:v>
                </c:pt>
                <c:pt idx="35">
                  <c:v>66.037623198238123</c:v>
                </c:pt>
                <c:pt idx="36">
                  <c:v>65.787482138773811</c:v>
                </c:pt>
                <c:pt idx="37">
                  <c:v>65.806377717365805</c:v>
                </c:pt>
                <c:pt idx="38">
                  <c:v>66.055737233315682</c:v>
                </c:pt>
                <c:pt idx="39">
                  <c:v>66.461289123203997</c:v>
                </c:pt>
                <c:pt idx="40">
                  <c:v>67.054167328301148</c:v>
                </c:pt>
                <c:pt idx="41">
                  <c:v>67.747778798865141</c:v>
                </c:pt>
                <c:pt idx="42">
                  <c:v>68.544998597209513</c:v>
                </c:pt>
                <c:pt idx="43">
                  <c:v>69.425721241850439</c:v>
                </c:pt>
                <c:pt idx="44">
                  <c:v>70.401917619718148</c:v>
                </c:pt>
                <c:pt idx="45">
                  <c:v>71.456570389526291</c:v>
                </c:pt>
                <c:pt idx="46">
                  <c:v>72.582024256317851</c:v>
                </c:pt>
                <c:pt idx="47">
                  <c:v>73.766307267701379</c:v>
                </c:pt>
                <c:pt idx="48">
                  <c:v>74.990311366132957</c:v>
                </c:pt>
                <c:pt idx="49">
                  <c:v>76.268887766844273</c:v>
                </c:pt>
                <c:pt idx="50">
                  <c:v>77.572165303316297</c:v>
                </c:pt>
                <c:pt idx="51">
                  <c:v>78.91828161575171</c:v>
                </c:pt>
                <c:pt idx="52">
                  <c:v>80.305917723556419</c:v>
                </c:pt>
                <c:pt idx="53">
                  <c:v>81.736402593980344</c:v>
                </c:pt>
                <c:pt idx="54">
                  <c:v>83.190640526011038</c:v>
                </c:pt>
                <c:pt idx="55">
                  <c:v>84.682105511743984</c:v>
                </c:pt>
                <c:pt idx="56">
                  <c:v>86.208350312810097</c:v>
                </c:pt>
                <c:pt idx="57">
                  <c:v>87.764672045237376</c:v>
                </c:pt>
                <c:pt idx="58">
                  <c:v>89.348614846442487</c:v>
                </c:pt>
                <c:pt idx="59">
                  <c:v>90.962301415576988</c:v>
                </c:pt>
                <c:pt idx="60">
                  <c:v>92.618408123493225</c:v>
                </c:pt>
                <c:pt idx="61">
                  <c:v>94.309888243583572</c:v>
                </c:pt>
                <c:pt idx="62">
                  <c:v>96.031014986248977</c:v>
                </c:pt>
                <c:pt idx="63">
                  <c:v>97.792755341356241</c:v>
                </c:pt>
                <c:pt idx="64">
                  <c:v>99.576047319183871</c:v>
                </c:pt>
                <c:pt idx="65">
                  <c:v>101.39636875186095</c:v>
                </c:pt>
                <c:pt idx="66">
                  <c:v>103.254288839036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C6E-45B1-9788-DD6A4159100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62</c:v>
                </c:pt>
                <c:pt idx="1">
                  <c:v>162</c:v>
                </c:pt>
                <c:pt idx="2">
                  <c:v>162</c:v>
                </c:pt>
                <c:pt idx="3">
                  <c:v>162</c:v>
                </c:pt>
                <c:pt idx="4">
                  <c:v>162</c:v>
                </c:pt>
                <c:pt idx="5">
                  <c:v>162</c:v>
                </c:pt>
                <c:pt idx="6">
                  <c:v>162</c:v>
                </c:pt>
                <c:pt idx="7">
                  <c:v>162</c:v>
                </c:pt>
                <c:pt idx="8">
                  <c:v>162</c:v>
                </c:pt>
                <c:pt idx="9">
                  <c:v>162</c:v>
                </c:pt>
                <c:pt idx="10">
                  <c:v>162</c:v>
                </c:pt>
                <c:pt idx="11">
                  <c:v>162</c:v>
                </c:pt>
                <c:pt idx="12">
                  <c:v>162</c:v>
                </c:pt>
                <c:pt idx="13">
                  <c:v>162</c:v>
                </c:pt>
                <c:pt idx="14">
                  <c:v>162</c:v>
                </c:pt>
                <c:pt idx="15">
                  <c:v>162</c:v>
                </c:pt>
                <c:pt idx="16">
                  <c:v>162</c:v>
                </c:pt>
                <c:pt idx="17">
                  <c:v>162</c:v>
                </c:pt>
                <c:pt idx="18">
                  <c:v>162</c:v>
                </c:pt>
                <c:pt idx="19">
                  <c:v>162</c:v>
                </c:pt>
                <c:pt idx="20">
                  <c:v>162</c:v>
                </c:pt>
                <c:pt idx="21">
                  <c:v>162</c:v>
                </c:pt>
                <c:pt idx="22">
                  <c:v>162</c:v>
                </c:pt>
                <c:pt idx="23">
                  <c:v>162</c:v>
                </c:pt>
                <c:pt idx="24">
                  <c:v>162</c:v>
                </c:pt>
                <c:pt idx="25">
                  <c:v>162</c:v>
                </c:pt>
                <c:pt idx="26">
                  <c:v>162</c:v>
                </c:pt>
                <c:pt idx="27">
                  <c:v>162</c:v>
                </c:pt>
                <c:pt idx="28">
                  <c:v>162</c:v>
                </c:pt>
                <c:pt idx="29">
                  <c:v>162</c:v>
                </c:pt>
                <c:pt idx="30">
                  <c:v>162</c:v>
                </c:pt>
                <c:pt idx="31">
                  <c:v>162</c:v>
                </c:pt>
                <c:pt idx="32">
                  <c:v>162</c:v>
                </c:pt>
                <c:pt idx="33">
                  <c:v>162</c:v>
                </c:pt>
                <c:pt idx="34">
                  <c:v>162</c:v>
                </c:pt>
                <c:pt idx="35">
                  <c:v>162</c:v>
                </c:pt>
                <c:pt idx="36">
                  <c:v>162</c:v>
                </c:pt>
                <c:pt idx="37">
                  <c:v>162</c:v>
                </c:pt>
                <c:pt idx="38">
                  <c:v>162</c:v>
                </c:pt>
                <c:pt idx="39">
                  <c:v>162</c:v>
                </c:pt>
                <c:pt idx="40">
                  <c:v>162</c:v>
                </c:pt>
                <c:pt idx="41">
                  <c:v>162</c:v>
                </c:pt>
                <c:pt idx="42">
                  <c:v>162</c:v>
                </c:pt>
                <c:pt idx="43">
                  <c:v>162</c:v>
                </c:pt>
                <c:pt idx="44">
                  <c:v>162</c:v>
                </c:pt>
                <c:pt idx="45">
                  <c:v>162</c:v>
                </c:pt>
                <c:pt idx="46">
                  <c:v>162</c:v>
                </c:pt>
                <c:pt idx="47">
                  <c:v>162</c:v>
                </c:pt>
                <c:pt idx="48">
                  <c:v>162</c:v>
                </c:pt>
                <c:pt idx="49">
                  <c:v>162</c:v>
                </c:pt>
                <c:pt idx="50">
                  <c:v>162</c:v>
                </c:pt>
                <c:pt idx="51">
                  <c:v>162</c:v>
                </c:pt>
                <c:pt idx="52">
                  <c:v>162</c:v>
                </c:pt>
                <c:pt idx="53">
                  <c:v>162</c:v>
                </c:pt>
                <c:pt idx="54">
                  <c:v>162</c:v>
                </c:pt>
                <c:pt idx="55">
                  <c:v>162</c:v>
                </c:pt>
                <c:pt idx="56">
                  <c:v>162</c:v>
                </c:pt>
                <c:pt idx="57">
                  <c:v>162</c:v>
                </c:pt>
                <c:pt idx="58">
                  <c:v>162</c:v>
                </c:pt>
                <c:pt idx="59">
                  <c:v>162</c:v>
                </c:pt>
                <c:pt idx="60">
                  <c:v>162</c:v>
                </c:pt>
                <c:pt idx="61">
                  <c:v>162</c:v>
                </c:pt>
                <c:pt idx="62">
                  <c:v>162</c:v>
                </c:pt>
                <c:pt idx="63">
                  <c:v>162</c:v>
                </c:pt>
                <c:pt idx="64">
                  <c:v>162</c:v>
                </c:pt>
                <c:pt idx="65">
                  <c:v>162</c:v>
                </c:pt>
                <c:pt idx="66">
                  <c:v>1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5</c:v>
                </c:pt>
                <c:pt idx="1">
                  <c:v>75</c:v>
                </c:pt>
                <c:pt idx="2">
                  <c:v>76</c:v>
                </c:pt>
                <c:pt idx="3">
                  <c:v>79</c:v>
                </c:pt>
                <c:pt idx="4">
                  <c:v>78</c:v>
                </c:pt>
                <c:pt idx="5">
                  <c:v>74</c:v>
                </c:pt>
                <c:pt idx="6">
                  <c:v>75</c:v>
                </c:pt>
                <c:pt idx="7">
                  <c:v>72</c:v>
                </c:pt>
                <c:pt idx="8">
                  <c:v>73</c:v>
                </c:pt>
                <c:pt idx="9">
                  <c:v>68</c:v>
                </c:pt>
                <c:pt idx="10">
                  <c:v>68</c:v>
                </c:pt>
                <c:pt idx="11">
                  <c:v>62</c:v>
                </c:pt>
                <c:pt idx="12">
                  <c:v>60</c:v>
                </c:pt>
                <c:pt idx="13">
                  <c:v>57</c:v>
                </c:pt>
                <c:pt idx="14">
                  <c:v>56</c:v>
                </c:pt>
                <c:pt idx="15">
                  <c:v>54</c:v>
                </c:pt>
                <c:pt idx="16">
                  <c:v>48</c:v>
                </c:pt>
                <c:pt idx="17">
                  <c:v>43</c:v>
                </c:pt>
                <c:pt idx="18">
                  <c:v>40</c:v>
                </c:pt>
                <c:pt idx="19">
                  <c:v>37</c:v>
                </c:pt>
                <c:pt idx="20">
                  <c:v>37</c:v>
                </c:pt>
                <c:pt idx="21">
                  <c:v>32</c:v>
                </c:pt>
                <c:pt idx="22">
                  <c:v>30</c:v>
                </c:pt>
                <c:pt idx="23">
                  <c:v>28</c:v>
                </c:pt>
                <c:pt idx="24">
                  <c:v>28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3</c:v>
                </c:pt>
                <c:pt idx="29">
                  <c:v>17</c:v>
                </c:pt>
                <c:pt idx="30">
                  <c:v>14</c:v>
                </c:pt>
                <c:pt idx="31">
                  <c:v>16</c:v>
                </c:pt>
                <c:pt idx="32">
                  <c:v>17</c:v>
                </c:pt>
                <c:pt idx="33">
                  <c:v>19</c:v>
                </c:pt>
                <c:pt idx="34">
                  <c:v>18</c:v>
                </c:pt>
                <c:pt idx="35">
                  <c:v>16</c:v>
                </c:pt>
                <c:pt idx="36">
                  <c:v>18</c:v>
                </c:pt>
                <c:pt idx="37">
                  <c:v>18</c:v>
                </c:pt>
                <c:pt idx="38">
                  <c:v>19</c:v>
                </c:pt>
                <c:pt idx="39">
                  <c:v>20</c:v>
                </c:pt>
                <c:pt idx="40">
                  <c:v>22</c:v>
                </c:pt>
                <c:pt idx="41">
                  <c:v>22</c:v>
                </c:pt>
                <c:pt idx="42">
                  <c:v>18</c:v>
                </c:pt>
                <c:pt idx="43">
                  <c:v>14</c:v>
                </c:pt>
                <c:pt idx="44">
                  <c:v>13</c:v>
                </c:pt>
                <c:pt idx="45">
                  <c:v>11</c:v>
                </c:pt>
                <c:pt idx="46">
                  <c:v>13</c:v>
                </c:pt>
                <c:pt idx="47">
                  <c:v>12</c:v>
                </c:pt>
                <c:pt idx="48">
                  <c:v>10</c:v>
                </c:pt>
                <c:pt idx="49">
                  <c:v>9</c:v>
                </c:pt>
                <c:pt idx="50">
                  <c:v>8</c:v>
                </c:pt>
                <c:pt idx="51">
                  <c:v>10</c:v>
                </c:pt>
                <c:pt idx="52">
                  <c:v>9</c:v>
                </c:pt>
                <c:pt idx="53">
                  <c:v>10</c:v>
                </c:pt>
                <c:pt idx="54">
                  <c:v>7</c:v>
                </c:pt>
                <c:pt idx="55">
                  <c:v>6</c:v>
                </c:pt>
                <c:pt idx="56">
                  <c:v>6</c:v>
                </c:pt>
                <c:pt idx="57">
                  <c:v>7</c:v>
                </c:pt>
                <c:pt idx="58">
                  <c:v>6</c:v>
                </c:pt>
                <c:pt idx="59">
                  <c:v>6</c:v>
                </c:pt>
                <c:pt idx="60">
                  <c:v>7</c:v>
                </c:pt>
                <c:pt idx="61">
                  <c:v>4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8.240486494424889</c:v>
                </c:pt>
                <c:pt idx="27">
                  <c:v>26.987668210014704</c:v>
                </c:pt>
                <c:pt idx="28">
                  <c:v>25.825717108153295</c:v>
                </c:pt>
                <c:pt idx="29">
                  <c:v>24.715005647219698</c:v>
                </c:pt>
                <c:pt idx="30">
                  <c:v>23.677630653129821</c:v>
                </c:pt>
                <c:pt idx="31">
                  <c:v>22.735388348632867</c:v>
                </c:pt>
                <c:pt idx="32">
                  <c:v>21.847134681201993</c:v>
                </c:pt>
                <c:pt idx="33">
                  <c:v>21.019587827058515</c:v>
                </c:pt>
                <c:pt idx="34">
                  <c:v>20.229951776369141</c:v>
                </c:pt>
                <c:pt idx="35">
                  <c:v>19.482457614952871</c:v>
                </c:pt>
                <c:pt idx="36">
                  <c:v>18.761282062852949</c:v>
                </c:pt>
                <c:pt idx="37">
                  <c:v>18.08137097622609</c:v>
                </c:pt>
                <c:pt idx="38">
                  <c:v>17.43154270495333</c:v>
                </c:pt>
                <c:pt idx="39">
                  <c:v>16.792785117219381</c:v>
                </c:pt>
                <c:pt idx="40">
                  <c:v>16.184398343715639</c:v>
                </c:pt>
                <c:pt idx="41">
                  <c:v>15.583814346917233</c:v>
                </c:pt>
                <c:pt idx="42">
                  <c:v>14.995258576892409</c:v>
                </c:pt>
                <c:pt idx="43">
                  <c:v>14.413824272294498</c:v>
                </c:pt>
                <c:pt idx="44">
                  <c:v>13.846626650619701</c:v>
                </c:pt>
                <c:pt idx="45">
                  <c:v>13.291989141920308</c:v>
                </c:pt>
                <c:pt idx="46">
                  <c:v>12.75216194029406</c:v>
                </c:pt>
                <c:pt idx="47">
                  <c:v>12.226823550614604</c:v>
                </c:pt>
                <c:pt idx="48">
                  <c:v>11.711090660129242</c:v>
                </c:pt>
                <c:pt idx="49">
                  <c:v>11.211164222824543</c:v>
                </c:pt>
                <c:pt idx="50">
                  <c:v>10.718262423974636</c:v>
                </c:pt>
                <c:pt idx="51">
                  <c:v>10.240484616362057</c:v>
                </c:pt>
                <c:pt idx="52">
                  <c:v>9.7790393242031026</c:v>
                </c:pt>
                <c:pt idx="53">
                  <c:v>9.3351954566585551</c:v>
                </c:pt>
                <c:pt idx="54">
                  <c:v>8.9026075318415074</c:v>
                </c:pt>
                <c:pt idx="55">
                  <c:v>8.4861390377182264</c:v>
                </c:pt>
                <c:pt idx="56">
                  <c:v>8.0852168784950429</c:v>
                </c:pt>
                <c:pt idx="57">
                  <c:v>7.6985497965588774</c:v>
                </c:pt>
                <c:pt idx="58">
                  <c:v>7.3251555000987576</c:v>
                </c:pt>
                <c:pt idx="59">
                  <c:v>6.9657697607515132</c:v>
                </c:pt>
                <c:pt idx="60">
                  <c:v>6.6241580580014077</c:v>
                </c:pt>
                <c:pt idx="61">
                  <c:v>6.2973729066870234</c:v>
                </c:pt>
                <c:pt idx="62">
                  <c:v>5.9834201197545536</c:v>
                </c:pt>
                <c:pt idx="63">
                  <c:v>5.6854623729946798</c:v>
                </c:pt>
                <c:pt idx="64">
                  <c:v>5.396436010518638</c:v>
                </c:pt>
                <c:pt idx="65">
                  <c:v>5.1212228685419277</c:v>
                </c:pt>
                <c:pt idx="66">
                  <c:v>4.8594954691961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F81-4796-AFE7-473D7EF26445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8.262288038338411</c:v>
                </c:pt>
                <c:pt idx="27">
                  <c:v>27.049489920115438</c:v>
                </c:pt>
                <c:pt idx="28">
                  <c:v>25.941839168950924</c:v>
                </c:pt>
                <c:pt idx="29">
                  <c:v>24.896640049696643</c:v>
                </c:pt>
                <c:pt idx="30">
                  <c:v>23.937917893883682</c:v>
                </c:pt>
                <c:pt idx="31">
                  <c:v>23.088765485835431</c:v>
                </c:pt>
                <c:pt idx="32">
                  <c:v>22.309665677952569</c:v>
                </c:pt>
                <c:pt idx="33">
                  <c:v>21.607838691624174</c:v>
                </c:pt>
                <c:pt idx="34">
                  <c:v>20.956665006803703</c:v>
                </c:pt>
                <c:pt idx="35">
                  <c:v>20.357838562962549</c:v>
                </c:pt>
                <c:pt idx="36">
                  <c:v>19.793957684622494</c:v>
                </c:pt>
                <c:pt idx="37">
                  <c:v>19.279169741158256</c:v>
                </c:pt>
                <c:pt idx="38">
                  <c:v>18.800919049454254</c:v>
                </c:pt>
                <c:pt idx="39">
                  <c:v>18.338145029211443</c:v>
                </c:pt>
                <c:pt idx="40">
                  <c:v>17.907522176620425</c:v>
                </c:pt>
                <c:pt idx="41">
                  <c:v>17.484106457499337</c:v>
                </c:pt>
                <c:pt idx="42">
                  <c:v>17.070899134566169</c:v>
                </c:pt>
                <c:pt idx="43">
                  <c:v>16.661623181662513</c:v>
                </c:pt>
                <c:pt idx="44">
                  <c:v>16.262178298108605</c:v>
                </c:pt>
                <c:pt idx="45">
                  <c:v>15.869697045225138</c:v>
                </c:pt>
                <c:pt idx="46">
                  <c:v>15.485740695814883</c:v>
                </c:pt>
                <c:pt idx="47">
                  <c:v>15.108984445697882</c:v>
                </c:pt>
                <c:pt idx="48">
                  <c:v>14.73362015602105</c:v>
                </c:pt>
                <c:pt idx="49">
                  <c:v>14.365811153465465</c:v>
                </c:pt>
                <c:pt idx="50">
                  <c:v>13.996210806179445</c:v>
                </c:pt>
                <c:pt idx="51">
                  <c:v>13.632815344442895</c:v>
                </c:pt>
                <c:pt idx="52">
                  <c:v>13.276728801230867</c:v>
                </c:pt>
                <c:pt idx="53">
                  <c:v>12.929229823113349</c:v>
                </c:pt>
                <c:pt idx="54">
                  <c:v>12.584004564073648</c:v>
                </c:pt>
                <c:pt idx="55">
                  <c:v>12.246103954659457</c:v>
                </c:pt>
                <c:pt idx="56">
                  <c:v>11.91508173880041</c:v>
                </c:pt>
                <c:pt idx="57">
                  <c:v>11.589980550748056</c:v>
                </c:pt>
                <c:pt idx="58">
                  <c:v>11.2700614576063</c:v>
                </c:pt>
                <c:pt idx="59">
                  <c:v>10.956411607040874</c:v>
                </c:pt>
                <c:pt idx="60">
                  <c:v>10.653019172105719</c:v>
                </c:pt>
                <c:pt idx="61">
                  <c:v>10.357506051763197</c:v>
                </c:pt>
                <c:pt idx="62">
                  <c:v>10.067999649398274</c:v>
                </c:pt>
                <c:pt idx="63">
                  <c:v>9.78817954955551</c:v>
                </c:pt>
                <c:pt idx="64">
                  <c:v>9.5112447957352835</c:v>
                </c:pt>
                <c:pt idx="65">
                  <c:v>9.2424361739799146</c:v>
                </c:pt>
                <c:pt idx="66">
                  <c:v>8.98164644660831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81-4796-AFE7-473D7EF26445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8.283924419040467</c:v>
                </c:pt>
                <c:pt idx="27">
                  <c:v>27.111098536163432</c:v>
                </c:pt>
                <c:pt idx="28">
                  <c:v>26.057714894796639</c:v>
                </c:pt>
                <c:pt idx="29">
                  <c:v>25.077999244173078</c:v>
                </c:pt>
                <c:pt idx="30">
                  <c:v>24.198895116738651</c:v>
                </c:pt>
                <c:pt idx="31">
                  <c:v>23.445742844252511</c:v>
                </c:pt>
                <c:pt idx="32">
                  <c:v>22.781530570410411</c:v>
                </c:pt>
                <c:pt idx="33">
                  <c:v>22.214440929901009</c:v>
                </c:pt>
                <c:pt idx="34">
                  <c:v>21.713906374720466</c:v>
                </c:pt>
                <c:pt idx="35">
                  <c:v>21.279080396768865</c:v>
                </c:pt>
                <c:pt idx="36">
                  <c:v>20.892117350180225</c:v>
                </c:pt>
                <c:pt idx="37">
                  <c:v>20.567433782443437</c:v>
                </c:pt>
                <c:pt idx="38">
                  <c:v>20.291207582738174</c:v>
                </c:pt>
                <c:pt idx="39">
                  <c:v>20.040358612985116</c:v>
                </c:pt>
                <c:pt idx="40">
                  <c:v>19.829491732699296</c:v>
                </c:pt>
                <c:pt idx="41">
                  <c:v>19.631243591714362</c:v>
                </c:pt>
                <c:pt idx="42">
                  <c:v>19.447068564856934</c:v>
                </c:pt>
                <c:pt idx="43">
                  <c:v>19.269837832025495</c:v>
                </c:pt>
                <c:pt idx="44">
                  <c:v>19.104696853315431</c:v>
                </c:pt>
                <c:pt idx="45">
                  <c:v>18.947250077651269</c:v>
                </c:pt>
                <c:pt idx="46">
                  <c:v>18.797372631367999</c:v>
                </c:pt>
                <c:pt idx="47">
                  <c:v>18.652608709702989</c:v>
                </c:pt>
                <c:pt idx="48">
                  <c:v>18.506701430127059</c:v>
                </c:pt>
                <c:pt idx="49">
                  <c:v>18.364846539512335</c:v>
                </c:pt>
                <c:pt idx="50">
                  <c:v>18.217382539839353</c:v>
                </c:pt>
                <c:pt idx="51">
                  <c:v>18.071495113778514</c:v>
                </c:pt>
                <c:pt idx="52">
                  <c:v>17.927907505822692</c:v>
                </c:pt>
                <c:pt idx="53">
                  <c:v>17.787409227475933</c:v>
                </c:pt>
                <c:pt idx="54">
                  <c:v>17.643386377552172</c:v>
                </c:pt>
                <c:pt idx="55">
                  <c:v>17.501040836175058</c:v>
                </c:pt>
                <c:pt idx="56">
                  <c:v>17.359506021430107</c:v>
                </c:pt>
                <c:pt idx="57">
                  <c:v>17.21766201967052</c:v>
                </c:pt>
                <c:pt idx="58">
                  <c:v>17.075004330840258</c:v>
                </c:pt>
                <c:pt idx="59">
                  <c:v>16.93210136099913</c:v>
                </c:pt>
                <c:pt idx="60">
                  <c:v>16.793271057420178</c:v>
                </c:pt>
                <c:pt idx="61">
                  <c:v>16.656034314970466</c:v>
                </c:pt>
                <c:pt idx="62">
                  <c:v>16.518651145208715</c:v>
                </c:pt>
                <c:pt idx="63">
                  <c:v>16.384814122999721</c:v>
                </c:pt>
                <c:pt idx="64">
                  <c:v>16.247751356984509</c:v>
                </c:pt>
                <c:pt idx="65">
                  <c:v>16.113004926744154</c:v>
                </c:pt>
                <c:pt idx="66">
                  <c:v>15.9804116987468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F81-4796-AFE7-473D7EF2644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8.316461571699286</c:v>
                </c:pt>
                <c:pt idx="27">
                  <c:v>27.203783170473258</c:v>
                </c:pt>
                <c:pt idx="28">
                  <c:v>26.231947326699647</c:v>
                </c:pt>
                <c:pt idx="29">
                  <c:v>25.35052852186627</c:v>
                </c:pt>
                <c:pt idx="30">
                  <c:v>24.593139528436204</c:v>
                </c:pt>
                <c:pt idx="31">
                  <c:v>23.990052534373405</c:v>
                </c:pt>
                <c:pt idx="32">
                  <c:v>23.509223511746434</c:v>
                </c:pt>
                <c:pt idx="33">
                  <c:v>23.161492319636142</c:v>
                </c:pt>
                <c:pt idx="34">
                  <c:v>22.910204692481315</c:v>
                </c:pt>
                <c:pt idx="35">
                  <c:v>22.751776395450555</c:v>
                </c:pt>
                <c:pt idx="36">
                  <c:v>22.669051638849119</c:v>
                </c:pt>
                <c:pt idx="37">
                  <c:v>22.679165423805323</c:v>
                </c:pt>
                <c:pt idx="38">
                  <c:v>22.768202103565727</c:v>
                </c:pt>
                <c:pt idx="39">
                  <c:v>22.910686080898305</c:v>
                </c:pt>
                <c:pt idx="40">
                  <c:v>23.117864225112413</c:v>
                </c:pt>
                <c:pt idx="41">
                  <c:v>23.359750962868421</c:v>
                </c:pt>
                <c:pt idx="42">
                  <c:v>23.63741141224579</c:v>
                </c:pt>
                <c:pt idx="43">
                  <c:v>23.94355798850021</c:v>
                </c:pt>
                <c:pt idx="44">
                  <c:v>24.282654053397131</c:v>
                </c:pt>
                <c:pt idx="45">
                  <c:v>24.648126642267478</c:v>
                </c:pt>
                <c:pt idx="46">
                  <c:v>25.038082254862154</c:v>
                </c:pt>
                <c:pt idx="47">
                  <c:v>25.448355950227658</c:v>
                </c:pt>
                <c:pt idx="48">
                  <c:v>25.87233105452982</c:v>
                </c:pt>
                <c:pt idx="49">
                  <c:v>26.315258052552849</c:v>
                </c:pt>
                <c:pt idx="50">
                  <c:v>26.766658503088891</c:v>
                </c:pt>
                <c:pt idx="51">
                  <c:v>27.232721972307477</c:v>
                </c:pt>
                <c:pt idx="52">
                  <c:v>27.712971536939563</c:v>
                </c:pt>
                <c:pt idx="53">
                  <c:v>28.207865057784716</c:v>
                </c:pt>
                <c:pt idx="54">
                  <c:v>28.710829417368359</c:v>
                </c:pt>
                <c:pt idx="55">
                  <c:v>29.226874549427265</c:v>
                </c:pt>
                <c:pt idx="56">
                  <c:v>29.754853890538008</c:v>
                </c:pt>
                <c:pt idx="57">
                  <c:v>30.293253824317304</c:v>
                </c:pt>
                <c:pt idx="58">
                  <c:v>30.841159125706021</c:v>
                </c:pt>
                <c:pt idx="59">
                  <c:v>31.399478050853297</c:v>
                </c:pt>
                <c:pt idx="60">
                  <c:v>31.972303027350701</c:v>
                </c:pt>
                <c:pt idx="61">
                  <c:v>32.557206571855232</c:v>
                </c:pt>
                <c:pt idx="62">
                  <c:v>33.152526179393995</c:v>
                </c:pt>
                <c:pt idx="63">
                  <c:v>33.76190037091596</c:v>
                </c:pt>
                <c:pt idx="64">
                  <c:v>34.378631372852446</c:v>
                </c:pt>
                <c:pt idx="65">
                  <c:v>35.008210065665601</c:v>
                </c:pt>
                <c:pt idx="66">
                  <c:v>35.6507554418151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81-4796-AFE7-473D7EF2644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8</c:v>
                </c:pt>
                <c:pt idx="1">
                  <c:v>128</c:v>
                </c:pt>
                <c:pt idx="2">
                  <c:v>128</c:v>
                </c:pt>
                <c:pt idx="3">
                  <c:v>128</c:v>
                </c:pt>
                <c:pt idx="4">
                  <c:v>128</c:v>
                </c:pt>
                <c:pt idx="5">
                  <c:v>128</c:v>
                </c:pt>
                <c:pt idx="6">
                  <c:v>128</c:v>
                </c:pt>
                <c:pt idx="7">
                  <c:v>128</c:v>
                </c:pt>
                <c:pt idx="8">
                  <c:v>128</c:v>
                </c:pt>
                <c:pt idx="9">
                  <c:v>128</c:v>
                </c:pt>
                <c:pt idx="10">
                  <c:v>128</c:v>
                </c:pt>
                <c:pt idx="11">
                  <c:v>128</c:v>
                </c:pt>
                <c:pt idx="12">
                  <c:v>128</c:v>
                </c:pt>
                <c:pt idx="13">
                  <c:v>128</c:v>
                </c:pt>
                <c:pt idx="14">
                  <c:v>128</c:v>
                </c:pt>
                <c:pt idx="15">
                  <c:v>128</c:v>
                </c:pt>
                <c:pt idx="16">
                  <c:v>128</c:v>
                </c:pt>
                <c:pt idx="17">
                  <c:v>128</c:v>
                </c:pt>
                <c:pt idx="18">
                  <c:v>128</c:v>
                </c:pt>
                <c:pt idx="19">
                  <c:v>128</c:v>
                </c:pt>
                <c:pt idx="20">
                  <c:v>128</c:v>
                </c:pt>
                <c:pt idx="21">
                  <c:v>128</c:v>
                </c:pt>
                <c:pt idx="22">
                  <c:v>128</c:v>
                </c:pt>
                <c:pt idx="23">
                  <c:v>128</c:v>
                </c:pt>
                <c:pt idx="24">
                  <c:v>128</c:v>
                </c:pt>
                <c:pt idx="25">
                  <c:v>128</c:v>
                </c:pt>
                <c:pt idx="26">
                  <c:v>128</c:v>
                </c:pt>
                <c:pt idx="27">
                  <c:v>128</c:v>
                </c:pt>
                <c:pt idx="28">
                  <c:v>128</c:v>
                </c:pt>
                <c:pt idx="29">
                  <c:v>128</c:v>
                </c:pt>
                <c:pt idx="30">
                  <c:v>128</c:v>
                </c:pt>
                <c:pt idx="31">
                  <c:v>128</c:v>
                </c:pt>
                <c:pt idx="32">
                  <c:v>128</c:v>
                </c:pt>
                <c:pt idx="33">
                  <c:v>128</c:v>
                </c:pt>
                <c:pt idx="34">
                  <c:v>128</c:v>
                </c:pt>
                <c:pt idx="35">
                  <c:v>128</c:v>
                </c:pt>
                <c:pt idx="36">
                  <c:v>128</c:v>
                </c:pt>
                <c:pt idx="37">
                  <c:v>128</c:v>
                </c:pt>
                <c:pt idx="38">
                  <c:v>128</c:v>
                </c:pt>
                <c:pt idx="39">
                  <c:v>128</c:v>
                </c:pt>
                <c:pt idx="40">
                  <c:v>128</c:v>
                </c:pt>
                <c:pt idx="41">
                  <c:v>128</c:v>
                </c:pt>
                <c:pt idx="42">
                  <c:v>128</c:v>
                </c:pt>
                <c:pt idx="43">
                  <c:v>128</c:v>
                </c:pt>
                <c:pt idx="44">
                  <c:v>128</c:v>
                </c:pt>
                <c:pt idx="45">
                  <c:v>128</c:v>
                </c:pt>
                <c:pt idx="46">
                  <c:v>128</c:v>
                </c:pt>
                <c:pt idx="47">
                  <c:v>128</c:v>
                </c:pt>
                <c:pt idx="48">
                  <c:v>128</c:v>
                </c:pt>
                <c:pt idx="49">
                  <c:v>128</c:v>
                </c:pt>
                <c:pt idx="50">
                  <c:v>128</c:v>
                </c:pt>
                <c:pt idx="51">
                  <c:v>128</c:v>
                </c:pt>
                <c:pt idx="52">
                  <c:v>128</c:v>
                </c:pt>
                <c:pt idx="53">
                  <c:v>128</c:v>
                </c:pt>
                <c:pt idx="54">
                  <c:v>128</c:v>
                </c:pt>
                <c:pt idx="55">
                  <c:v>128</c:v>
                </c:pt>
                <c:pt idx="56">
                  <c:v>128</c:v>
                </c:pt>
                <c:pt idx="57">
                  <c:v>128</c:v>
                </c:pt>
                <c:pt idx="58">
                  <c:v>128</c:v>
                </c:pt>
                <c:pt idx="59">
                  <c:v>128</c:v>
                </c:pt>
                <c:pt idx="60">
                  <c:v>128</c:v>
                </c:pt>
                <c:pt idx="61">
                  <c:v>128</c:v>
                </c:pt>
                <c:pt idx="62">
                  <c:v>128</c:v>
                </c:pt>
                <c:pt idx="63">
                  <c:v>128</c:v>
                </c:pt>
                <c:pt idx="64">
                  <c:v>128</c:v>
                </c:pt>
                <c:pt idx="65">
                  <c:v>128</c:v>
                </c:pt>
                <c:pt idx="66">
                  <c:v>1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4</c:v>
                </c:pt>
                <c:pt idx="1">
                  <c:v>74</c:v>
                </c:pt>
                <c:pt idx="2">
                  <c:v>79</c:v>
                </c:pt>
                <c:pt idx="3">
                  <c:v>78</c:v>
                </c:pt>
                <c:pt idx="4">
                  <c:v>80</c:v>
                </c:pt>
                <c:pt idx="5">
                  <c:v>83</c:v>
                </c:pt>
                <c:pt idx="6">
                  <c:v>74</c:v>
                </c:pt>
                <c:pt idx="7">
                  <c:v>73</c:v>
                </c:pt>
                <c:pt idx="8">
                  <c:v>72</c:v>
                </c:pt>
                <c:pt idx="9">
                  <c:v>67</c:v>
                </c:pt>
                <c:pt idx="10">
                  <c:v>64</c:v>
                </c:pt>
                <c:pt idx="11">
                  <c:v>62</c:v>
                </c:pt>
                <c:pt idx="12">
                  <c:v>60</c:v>
                </c:pt>
                <c:pt idx="13">
                  <c:v>50</c:v>
                </c:pt>
                <c:pt idx="14">
                  <c:v>48</c:v>
                </c:pt>
                <c:pt idx="15">
                  <c:v>46</c:v>
                </c:pt>
                <c:pt idx="16">
                  <c:v>46</c:v>
                </c:pt>
                <c:pt idx="17">
                  <c:v>43</c:v>
                </c:pt>
                <c:pt idx="18">
                  <c:v>43</c:v>
                </c:pt>
                <c:pt idx="19">
                  <c:v>39</c:v>
                </c:pt>
                <c:pt idx="20">
                  <c:v>36</c:v>
                </c:pt>
                <c:pt idx="21">
                  <c:v>32</c:v>
                </c:pt>
                <c:pt idx="22">
                  <c:v>30</c:v>
                </c:pt>
                <c:pt idx="23">
                  <c:v>28</c:v>
                </c:pt>
                <c:pt idx="24">
                  <c:v>30</c:v>
                </c:pt>
                <c:pt idx="25">
                  <c:v>27</c:v>
                </c:pt>
                <c:pt idx="26">
                  <c:v>24</c:v>
                </c:pt>
                <c:pt idx="27">
                  <c:v>23</c:v>
                </c:pt>
                <c:pt idx="28">
                  <c:v>21</c:v>
                </c:pt>
                <c:pt idx="29">
                  <c:v>20</c:v>
                </c:pt>
                <c:pt idx="30">
                  <c:v>19</c:v>
                </c:pt>
                <c:pt idx="31">
                  <c:v>19</c:v>
                </c:pt>
                <c:pt idx="32">
                  <c:v>16</c:v>
                </c:pt>
                <c:pt idx="33">
                  <c:v>11</c:v>
                </c:pt>
                <c:pt idx="34">
                  <c:v>12</c:v>
                </c:pt>
                <c:pt idx="35">
                  <c:v>12</c:v>
                </c:pt>
                <c:pt idx="36">
                  <c:v>11</c:v>
                </c:pt>
                <c:pt idx="37">
                  <c:v>11</c:v>
                </c:pt>
                <c:pt idx="38">
                  <c:v>11</c:v>
                </c:pt>
                <c:pt idx="39">
                  <c:v>9</c:v>
                </c:pt>
                <c:pt idx="40">
                  <c:v>12</c:v>
                </c:pt>
                <c:pt idx="41">
                  <c:v>10</c:v>
                </c:pt>
                <c:pt idx="42">
                  <c:v>9</c:v>
                </c:pt>
                <c:pt idx="43">
                  <c:v>12</c:v>
                </c:pt>
                <c:pt idx="44">
                  <c:v>11</c:v>
                </c:pt>
                <c:pt idx="45">
                  <c:v>11</c:v>
                </c:pt>
                <c:pt idx="46">
                  <c:v>11</c:v>
                </c:pt>
                <c:pt idx="47">
                  <c:v>8</c:v>
                </c:pt>
                <c:pt idx="48">
                  <c:v>6</c:v>
                </c:pt>
                <c:pt idx="49">
                  <c:v>6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6</c:v>
                </c:pt>
                <c:pt idx="54">
                  <c:v>6</c:v>
                </c:pt>
                <c:pt idx="55">
                  <c:v>5</c:v>
                </c:pt>
                <c:pt idx="56">
                  <c:v>4</c:v>
                </c:pt>
                <c:pt idx="57">
                  <c:v>4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1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24.301402582006713</c:v>
                </c:pt>
                <c:pt idx="27">
                  <c:v>23.220319555257134</c:v>
                </c:pt>
                <c:pt idx="28">
                  <c:v>22.217119073185884</c:v>
                </c:pt>
                <c:pt idx="29">
                  <c:v>21.259043845318651</c:v>
                </c:pt>
                <c:pt idx="30">
                  <c:v>20.364463387173764</c:v>
                </c:pt>
                <c:pt idx="31">
                  <c:v>19.551855652775505</c:v>
                </c:pt>
                <c:pt idx="32">
                  <c:v>18.786251342104986</c:v>
                </c:pt>
                <c:pt idx="33">
                  <c:v>18.073042995257403</c:v>
                </c:pt>
                <c:pt idx="34">
                  <c:v>17.392443265222838</c:v>
                </c:pt>
                <c:pt idx="35">
                  <c:v>16.74792195403996</c:v>
                </c:pt>
                <c:pt idx="36">
                  <c:v>16.126788960532267</c:v>
                </c:pt>
                <c:pt idx="37">
                  <c:v>15.541185718982899</c:v>
                </c:pt>
                <c:pt idx="38">
                  <c:v>14.981862336844856</c:v>
                </c:pt>
                <c:pt idx="39">
                  <c:v>14.432405563959668</c:v>
                </c:pt>
                <c:pt idx="40">
                  <c:v>13.909126635405254</c:v>
                </c:pt>
                <c:pt idx="41">
                  <c:v>13.392679497469164</c:v>
                </c:pt>
                <c:pt idx="42">
                  <c:v>12.886639811568333</c:v>
                </c:pt>
                <c:pt idx="43">
                  <c:v>12.386984291909238</c:v>
                </c:pt>
                <c:pt idx="44">
                  <c:v>11.899627898985907</c:v>
                </c:pt>
                <c:pt idx="45">
                  <c:v>11.423529075178884</c:v>
                </c:pt>
                <c:pt idx="46">
                  <c:v>10.960189951622169</c:v>
                </c:pt>
                <c:pt idx="47">
                  <c:v>10.50934429836515</c:v>
                </c:pt>
                <c:pt idx="48">
                  <c:v>10.066803549889798</c:v>
                </c:pt>
                <c:pt idx="49">
                  <c:v>9.6378166039841666</c:v>
                </c:pt>
                <c:pt idx="50">
                  <c:v>9.2149281102979135</c:v>
                </c:pt>
                <c:pt idx="51">
                  <c:v>8.8051252067546528</c:v>
                </c:pt>
                <c:pt idx="52">
                  <c:v>8.4094507359898909</c:v>
                </c:pt>
                <c:pt idx="53">
                  <c:v>8.0289877846107753</c:v>
                </c:pt>
                <c:pt idx="54">
                  <c:v>7.6582711366901108</c:v>
                </c:pt>
                <c:pt idx="55">
                  <c:v>7.3012754398492614</c:v>
                </c:pt>
                <c:pt idx="56">
                  <c:v>6.9576785955012461</c:v>
                </c:pt>
                <c:pt idx="57">
                  <c:v>6.6263042576393403</c:v>
                </c:pt>
                <c:pt idx="58">
                  <c:v>6.3063431469025018</c:v>
                </c:pt>
                <c:pt idx="59">
                  <c:v>5.998323382645804</c:v>
                </c:pt>
                <c:pt idx="60">
                  <c:v>5.7056370183872254</c:v>
                </c:pt>
                <c:pt idx="61">
                  <c:v>5.4257509750433019</c:v>
                </c:pt>
                <c:pt idx="62">
                  <c:v>5.1567770570435698</c:v>
                </c:pt>
                <c:pt idx="63">
                  <c:v>4.9015137615601549</c:v>
                </c:pt>
                <c:pt idx="64">
                  <c:v>4.653960097204517</c:v>
                </c:pt>
                <c:pt idx="65">
                  <c:v>4.4182225455621396</c:v>
                </c:pt>
                <c:pt idx="66">
                  <c:v>4.19406478072018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9B-4089-8434-949127744B71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24.320158241226199</c:v>
                </c:pt>
                <c:pt idx="27">
                  <c:v>23.27351107475943</c:v>
                </c:pt>
                <c:pt idx="28">
                  <c:v>22.317020516523193</c:v>
                </c:pt>
                <c:pt idx="29">
                  <c:v>21.415288012526368</c:v>
                </c:pt>
                <c:pt idx="30">
                  <c:v>20.588337071796687</c:v>
                </c:pt>
                <c:pt idx="31">
                  <c:v>19.85574973145394</c:v>
                </c:pt>
                <c:pt idx="32">
                  <c:v>19.183939441849773</c:v>
                </c:pt>
                <c:pt idx="33">
                  <c:v>18.578726910505004</c:v>
                </c:pt>
                <c:pt idx="34">
                  <c:v>18.017034600452654</c:v>
                </c:pt>
                <c:pt idx="35">
                  <c:v>17.500141582826753</c:v>
                </c:pt>
                <c:pt idx="36">
                  <c:v>17.014004645255191</c:v>
                </c:pt>
                <c:pt idx="37">
                  <c:v>16.570090514748621</c:v>
                </c:pt>
                <c:pt idx="38">
                  <c:v>16.157968032360031</c:v>
                </c:pt>
                <c:pt idx="39">
                  <c:v>15.75946809628282</c:v>
                </c:pt>
                <c:pt idx="40">
                  <c:v>15.388642706342857</c:v>
                </c:pt>
                <c:pt idx="41">
                  <c:v>15.024114141136923</c:v>
                </c:pt>
                <c:pt idx="42">
                  <c:v>14.668411811674133</c:v>
                </c:pt>
                <c:pt idx="43">
                  <c:v>14.316338076965494</c:v>
                </c:pt>
                <c:pt idx="44">
                  <c:v>13.972767045787624</c:v>
                </c:pt>
                <c:pt idx="45">
                  <c:v>13.635635444312463</c:v>
                </c:pt>
                <c:pt idx="46">
                  <c:v>13.30585841335129</c:v>
                </c:pt>
                <c:pt idx="47">
                  <c:v>12.982311428399424</c:v>
                </c:pt>
                <c:pt idx="48">
                  <c:v>12.660013316277855</c:v>
                </c:pt>
                <c:pt idx="49">
                  <c:v>12.344183184022963</c:v>
                </c:pt>
                <c:pt idx="50">
                  <c:v>12.026884443978449</c:v>
                </c:pt>
                <c:pt idx="51">
                  <c:v>11.715017882120689</c:v>
                </c:pt>
                <c:pt idx="52">
                  <c:v>11.40953917837186</c:v>
                </c:pt>
                <c:pt idx="53">
                  <c:v>11.111541893043297</c:v>
                </c:pt>
                <c:pt idx="54">
                  <c:v>10.815589748773696</c:v>
                </c:pt>
                <c:pt idx="55">
                  <c:v>10.525817538959302</c:v>
                </c:pt>
                <c:pt idx="56">
                  <c:v>10.24201212681116</c:v>
                </c:pt>
                <c:pt idx="57">
                  <c:v>9.9632857977944624</c:v>
                </c:pt>
                <c:pt idx="58">
                  <c:v>9.6890388373406147</c:v>
                </c:pt>
                <c:pt idx="59">
                  <c:v>9.4201020786870266</c:v>
                </c:pt>
                <c:pt idx="60">
                  <c:v>9.1600585407755144</c:v>
                </c:pt>
                <c:pt idx="61">
                  <c:v>8.9068638248765577</c:v>
                </c:pt>
                <c:pt idx="62">
                  <c:v>8.6587336146336238</c:v>
                </c:pt>
                <c:pt idx="63">
                  <c:v>8.4189094898977519</c:v>
                </c:pt>
                <c:pt idx="64">
                  <c:v>8.1816165616638195</c:v>
                </c:pt>
                <c:pt idx="65">
                  <c:v>7.9512692055619318</c:v>
                </c:pt>
                <c:pt idx="66">
                  <c:v>7.7278193731960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9B-4089-8434-949127744B71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24.33877181211826</c:v>
                </c:pt>
                <c:pt idx="27">
                  <c:v>23.326519219256355</c:v>
                </c:pt>
                <c:pt idx="28">
                  <c:v>22.416710100173539</c:v>
                </c:pt>
                <c:pt idx="29">
                  <c:v>21.571295531832732</c:v>
                </c:pt>
                <c:pt idx="30">
                  <c:v>20.812804534105201</c:v>
                </c:pt>
                <c:pt idx="31">
                  <c:v>20.162741710376842</c:v>
                </c:pt>
                <c:pt idx="32">
                  <c:v>19.589658448674736</c:v>
                </c:pt>
                <c:pt idx="33">
                  <c:v>19.100198966793172</c:v>
                </c:pt>
                <c:pt idx="34">
                  <c:v>18.667887413982818</c:v>
                </c:pt>
                <c:pt idx="35">
                  <c:v>18.291807747224397</c:v>
                </c:pt>
                <c:pt idx="36">
                  <c:v>17.957537560899798</c:v>
                </c:pt>
                <c:pt idx="37">
                  <c:v>17.676785578964097</c:v>
                </c:pt>
                <c:pt idx="38">
                  <c:v>17.438029679270176</c:v>
                </c:pt>
                <c:pt idx="39">
                  <c:v>17.22136722716645</c:v>
                </c:pt>
                <c:pt idx="40">
                  <c:v>17.039068051488734</c:v>
                </c:pt>
                <c:pt idx="41">
                  <c:v>16.867684398096216</c:v>
                </c:pt>
                <c:pt idx="42">
                  <c:v>16.708420039445407</c:v>
                </c:pt>
                <c:pt idx="43">
                  <c:v>16.555348226573582</c:v>
                </c:pt>
                <c:pt idx="44">
                  <c:v>16.412698770452838</c:v>
                </c:pt>
                <c:pt idx="45">
                  <c:v>16.277095521677925</c:v>
                </c:pt>
                <c:pt idx="46">
                  <c:v>16.148007731230663</c:v>
                </c:pt>
                <c:pt idx="47">
                  <c:v>16.023343124651607</c:v>
                </c:pt>
                <c:pt idx="48">
                  <c:v>15.89773852283998</c:v>
                </c:pt>
                <c:pt idx="49">
                  <c:v>15.775582924356449</c:v>
                </c:pt>
                <c:pt idx="50">
                  <c:v>15.648672824146058</c:v>
                </c:pt>
                <c:pt idx="51">
                  <c:v>15.523215937482005</c:v>
                </c:pt>
                <c:pt idx="52">
                  <c:v>15.399843527812521</c:v>
                </c:pt>
                <c:pt idx="53">
                  <c:v>15.279231079968763</c:v>
                </c:pt>
                <c:pt idx="54">
                  <c:v>15.155686601066234</c:v>
                </c:pt>
                <c:pt idx="55">
                  <c:v>15.033475252117604</c:v>
                </c:pt>
                <c:pt idx="56">
                  <c:v>14.912023113613682</c:v>
                </c:pt>
                <c:pt idx="57">
                  <c:v>14.790304291835429</c:v>
                </c:pt>
                <c:pt idx="58">
                  <c:v>14.667922474792169</c:v>
                </c:pt>
                <c:pt idx="59">
                  <c:v>14.545263940209122</c:v>
                </c:pt>
                <c:pt idx="60">
                  <c:v>14.426195260593603</c:v>
                </c:pt>
                <c:pt idx="61">
                  <c:v>14.308585560828774</c:v>
                </c:pt>
                <c:pt idx="62">
                  <c:v>14.19076404994625</c:v>
                </c:pt>
                <c:pt idx="63">
                  <c:v>14.075983867376998</c:v>
                </c:pt>
                <c:pt idx="64">
                  <c:v>13.95849564749463</c:v>
                </c:pt>
                <c:pt idx="65">
                  <c:v>13.842973621800628</c:v>
                </c:pt>
                <c:pt idx="66">
                  <c:v>13.7293213622288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9B-4089-8434-949127744B7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26">
                  <c:v>24.366763212620071</c:v>
                </c:pt>
                <c:pt idx="27">
                  <c:v>23.406265211831844</c:v>
                </c:pt>
                <c:pt idx="28">
                  <c:v>22.566604824661621</c:v>
                </c:pt>
                <c:pt idx="29">
                  <c:v>21.805728681932607</c:v>
                </c:pt>
                <c:pt idx="30">
                  <c:v>21.151895873872448</c:v>
                </c:pt>
                <c:pt idx="31">
                  <c:v>20.630838069717669</c:v>
                </c:pt>
                <c:pt idx="32">
                  <c:v>20.215353111682315</c:v>
                </c:pt>
                <c:pt idx="33">
                  <c:v>19.91436343481152</c:v>
                </c:pt>
                <c:pt idx="34">
                  <c:v>19.696152587680231</c:v>
                </c:pt>
                <c:pt idx="35">
                  <c:v>19.55743154001344</c:v>
                </c:pt>
                <c:pt idx="36">
                  <c:v>19.484372114563271</c:v>
                </c:pt>
                <c:pt idx="37">
                  <c:v>19.491033224175496</c:v>
                </c:pt>
                <c:pt idx="38">
                  <c:v>19.56580623789251</c:v>
                </c:pt>
                <c:pt idx="39">
                  <c:v>19.686728590361813</c:v>
                </c:pt>
                <c:pt idx="40">
                  <c:v>19.863174575674741</c:v>
                </c:pt>
                <c:pt idx="41">
                  <c:v>20.069454261679844</c:v>
                </c:pt>
                <c:pt idx="42">
                  <c:v>20.306441156923071</c:v>
                </c:pt>
                <c:pt idx="43">
                  <c:v>20.568074302709864</c:v>
                </c:pt>
                <c:pt idx="44">
                  <c:v>20.85799915645531</c:v>
                </c:pt>
                <c:pt idx="45">
                  <c:v>21.170966087379707</c:v>
                </c:pt>
                <c:pt idx="46">
                  <c:v>21.504927809344913</c:v>
                </c:pt>
                <c:pt idx="47">
                  <c:v>21.85632685512666</c:v>
                </c:pt>
                <c:pt idx="48">
                  <c:v>22.219494382814002</c:v>
                </c:pt>
                <c:pt idx="49">
                  <c:v>22.598868221234344</c:v>
                </c:pt>
                <c:pt idx="50">
                  <c:v>22.985546580099882</c:v>
                </c:pt>
                <c:pt idx="51">
                  <c:v>23.384883487994038</c:v>
                </c:pt>
                <c:pt idx="52">
                  <c:v>23.79648167177043</c:v>
                </c:pt>
                <c:pt idx="53">
                  <c:v>24.220734711454821</c:v>
                </c:pt>
                <c:pt idx="54">
                  <c:v>24.651989039337735</c:v>
                </c:pt>
                <c:pt idx="55">
                  <c:v>25.094343751708102</c:v>
                </c:pt>
                <c:pt idx="56">
                  <c:v>25.54698440900469</c:v>
                </c:pt>
                <c:pt idx="57">
                  <c:v>26.008549746342339</c:v>
                </c:pt>
                <c:pt idx="58">
                  <c:v>26.478292019456596</c:v>
                </c:pt>
                <c:pt idx="59">
                  <c:v>26.956892168663913</c:v>
                </c:pt>
                <c:pt idx="60">
                  <c:v>27.448023121150914</c:v>
                </c:pt>
                <c:pt idx="61">
                  <c:v>27.949598038208272</c:v>
                </c:pt>
                <c:pt idx="62">
                  <c:v>28.460012673828796</c:v>
                </c:pt>
                <c:pt idx="63">
                  <c:v>28.982473617254918</c:v>
                </c:pt>
                <c:pt idx="64">
                  <c:v>29.511297010279574</c:v>
                </c:pt>
                <c:pt idx="65">
                  <c:v>30.051113501550258</c:v>
                </c:pt>
                <c:pt idx="66">
                  <c:v>30.6020688725759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9B-4089-8434-949127744B7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7</c:v>
                </c:pt>
                <c:pt idx="1">
                  <c:v>137</c:v>
                </c:pt>
                <c:pt idx="2">
                  <c:v>137</c:v>
                </c:pt>
                <c:pt idx="3">
                  <c:v>137</c:v>
                </c:pt>
                <c:pt idx="4">
                  <c:v>137</c:v>
                </c:pt>
                <c:pt idx="5">
                  <c:v>137</c:v>
                </c:pt>
                <c:pt idx="6">
                  <c:v>137</c:v>
                </c:pt>
                <c:pt idx="7">
                  <c:v>137</c:v>
                </c:pt>
                <c:pt idx="8">
                  <c:v>137</c:v>
                </c:pt>
                <c:pt idx="9">
                  <c:v>137</c:v>
                </c:pt>
                <c:pt idx="10">
                  <c:v>137</c:v>
                </c:pt>
                <c:pt idx="11">
                  <c:v>137</c:v>
                </c:pt>
                <c:pt idx="12">
                  <c:v>137</c:v>
                </c:pt>
                <c:pt idx="13">
                  <c:v>137</c:v>
                </c:pt>
                <c:pt idx="14">
                  <c:v>137</c:v>
                </c:pt>
                <c:pt idx="15">
                  <c:v>137</c:v>
                </c:pt>
                <c:pt idx="16">
                  <c:v>137</c:v>
                </c:pt>
                <c:pt idx="17">
                  <c:v>137</c:v>
                </c:pt>
                <c:pt idx="18">
                  <c:v>137</c:v>
                </c:pt>
                <c:pt idx="19">
                  <c:v>137</c:v>
                </c:pt>
                <c:pt idx="20">
                  <c:v>137</c:v>
                </c:pt>
                <c:pt idx="21">
                  <c:v>137</c:v>
                </c:pt>
                <c:pt idx="22">
                  <c:v>137</c:v>
                </c:pt>
                <c:pt idx="23">
                  <c:v>137</c:v>
                </c:pt>
                <c:pt idx="24">
                  <c:v>137</c:v>
                </c:pt>
                <c:pt idx="25">
                  <c:v>137</c:v>
                </c:pt>
                <c:pt idx="26">
                  <c:v>137</c:v>
                </c:pt>
                <c:pt idx="27">
                  <c:v>137</c:v>
                </c:pt>
                <c:pt idx="28">
                  <c:v>137</c:v>
                </c:pt>
                <c:pt idx="29">
                  <c:v>137</c:v>
                </c:pt>
                <c:pt idx="30">
                  <c:v>137</c:v>
                </c:pt>
                <c:pt idx="31">
                  <c:v>137</c:v>
                </c:pt>
                <c:pt idx="32">
                  <c:v>137</c:v>
                </c:pt>
                <c:pt idx="33">
                  <c:v>137</c:v>
                </c:pt>
                <c:pt idx="34">
                  <c:v>137</c:v>
                </c:pt>
                <c:pt idx="35">
                  <c:v>137</c:v>
                </c:pt>
                <c:pt idx="36">
                  <c:v>137</c:v>
                </c:pt>
                <c:pt idx="37">
                  <c:v>137</c:v>
                </c:pt>
                <c:pt idx="38">
                  <c:v>137</c:v>
                </c:pt>
                <c:pt idx="39">
                  <c:v>137</c:v>
                </c:pt>
                <c:pt idx="40">
                  <c:v>137</c:v>
                </c:pt>
                <c:pt idx="41">
                  <c:v>137</c:v>
                </c:pt>
                <c:pt idx="42">
                  <c:v>137</c:v>
                </c:pt>
                <c:pt idx="43">
                  <c:v>137</c:v>
                </c:pt>
                <c:pt idx="44">
                  <c:v>137</c:v>
                </c:pt>
                <c:pt idx="45">
                  <c:v>137</c:v>
                </c:pt>
                <c:pt idx="46">
                  <c:v>137</c:v>
                </c:pt>
                <c:pt idx="47">
                  <c:v>137</c:v>
                </c:pt>
                <c:pt idx="48">
                  <c:v>137</c:v>
                </c:pt>
                <c:pt idx="49">
                  <c:v>137</c:v>
                </c:pt>
                <c:pt idx="50">
                  <c:v>137</c:v>
                </c:pt>
                <c:pt idx="51">
                  <c:v>137</c:v>
                </c:pt>
                <c:pt idx="52">
                  <c:v>137</c:v>
                </c:pt>
                <c:pt idx="53">
                  <c:v>137</c:v>
                </c:pt>
                <c:pt idx="54">
                  <c:v>137</c:v>
                </c:pt>
                <c:pt idx="55">
                  <c:v>137</c:v>
                </c:pt>
                <c:pt idx="56">
                  <c:v>137</c:v>
                </c:pt>
                <c:pt idx="57">
                  <c:v>137</c:v>
                </c:pt>
                <c:pt idx="58">
                  <c:v>137</c:v>
                </c:pt>
                <c:pt idx="59">
                  <c:v>137</c:v>
                </c:pt>
                <c:pt idx="60">
                  <c:v>137</c:v>
                </c:pt>
                <c:pt idx="61">
                  <c:v>137</c:v>
                </c:pt>
                <c:pt idx="62">
                  <c:v>137</c:v>
                </c:pt>
                <c:pt idx="63">
                  <c:v>137</c:v>
                </c:pt>
                <c:pt idx="64">
                  <c:v>137</c:v>
                </c:pt>
                <c:pt idx="65">
                  <c:v>137</c:v>
                </c:pt>
                <c:pt idx="66">
                  <c:v>1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9F641-8B08-492E-BBD7-40ACF6788728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74A5B4-1B79-4F37-B1D1-18810C532CE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9392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704097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683203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921142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513945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740080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293790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999911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623959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8503637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503234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255978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8052483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1291993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8538092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1108475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022447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101988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9152276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914547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13634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8321996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92027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4271586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454215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240835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647031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470004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171656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12265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863701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0238A-57B0-4F1D-8FF9-33390AD7AD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5523AF6-6B8B-40E3-93B0-4204C26341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5E68C4B-BB66-4B5C-9C16-E09CF2D32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C876515-348C-4A89-B087-F87CD0306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2F5EBC1-2CE4-424E-8139-A29603CC4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272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2441A1F-F0A9-4DDD-851D-3550251E1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5E18BF-9909-490D-9479-A46709B8E2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66DDA25-10FD-47AB-A08F-AEA981BD9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4A5327-210C-4CA0-9845-EF4DEED3E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032F2A-07F5-48BF-A381-F9589A677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3550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CC64D39-090E-4706-B854-36A0894198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D16DA3D-B814-4F1B-BEF6-F67B0A01EC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88B62E-B6F3-47C5-BE7E-5CCF6DE9E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58CAFAB-84A5-4F2C-AC60-54CE920BC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F326232-9918-4D71-9FFD-00976CC77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769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612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61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24624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589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61705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64615B-B636-4039-BC86-B20FA0C2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86E7F13-05D4-47E2-B062-FB149D83DA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BB92DDC-F499-4DDA-9C62-B6A0B38FE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CCD2CEC-6F78-4E89-92FD-D16A99450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EB1239F-F719-4B37-92A9-5E5B1BB74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722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BF39F6-2D47-43A4-96BF-5EE6AC494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80EC2D4-5185-42BE-8266-08B291CBE4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B743A0-3FEC-4D90-8AC9-DB87E716F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E28AB84-9F54-4C85-BF4D-3DEDAC9E5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D53DEA-0D27-47B9-8B94-7D3061257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9859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63AC31-1609-4BB5-AECB-CD025D7C2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C052899-D486-4AD5-9B7F-D42350CAD4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A1981B2-9EFB-4322-9C7B-C577055FB7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E5FD625-567F-4E56-93E2-A0DE2369C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31B977-F456-42DE-AD8D-3FFDC7057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E8F7E02-0B1A-4C5E-900F-FF241B8F7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6754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F6C006-6088-455C-81F3-EA418337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3F31E1A-E3CD-4504-A702-5B706CC6EC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627730D-7434-4198-BF1C-C604889517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FCF36F5-3DCC-4833-BC0C-EBAB9B9040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CA442FE-A13E-44FE-A9C1-402E2C53EF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9E76946-D378-48A1-A800-01FF1A9EF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1CF45DC-C4D7-4680-8548-D5D4B7E39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F4DA369-2F49-4206-9E26-EFB787948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493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19F910-EC25-49C0-B026-56746DEA5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DD96CD7-B01A-4F34-AAD9-6E38FA6D1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E5C4440-CC3C-433E-991A-42B6F1152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D70B27C2-09D1-4BA3-B6EB-44D5386CB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630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D84F022-E918-4978-8921-4500AA622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B8F4BB3-1FB6-437A-BBE1-4C934F196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8262D6E-74A3-4C10-A33E-E40A373EE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4469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5A0C74-345F-4200-8159-E16B9E7BD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F397F97-F035-4CE5-AC97-5EF6A8028C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664BE1E-B4B6-4306-B2C7-57A22EE20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D7FA503-E644-41C1-81D3-B616C7C4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BE9CD1-39C1-4567-8E58-731290EE4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48AC61-C0E2-4247-8215-9CF76AD5B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3515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2F419E-288C-46C6-898D-254A4170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1F92B9F-3F90-4BD3-B6CA-71D1320B7E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AF52DA7-9973-47D4-934A-65C721DFBD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CBB338D-7400-4CD2-AAB1-8E67B9825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529E4E6-0FD8-411C-BA30-E762725A3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EE65E6B-B2B2-48E6-ABBE-1AFE69FE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6678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C2EF0D3-6C36-436E-8168-92954D40B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9EFEF33-91B4-4440-BBB1-28F8FAD9D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1931A3-5C5F-4892-BC44-87158DFD54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04215F5-1033-4764-BA77-01DE65882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F84541-B5BC-4212-83F3-07537F03C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19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02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205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chart" Target="../charts/chart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chart" Target="../charts/chart10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chart" Target="../charts/chart1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chart" Target="../charts/chart1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chart" Target="../charts/chart13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chart" Target="../charts/chart14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chart" Target="../charts/chart15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chart" Target="../charts/chart16.xml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tags" Target="../tags/tag66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8.xml"/><Relationship Id="rId4" Type="http://schemas.openxmlformats.org/officeDocument/2006/relationships/tags" Target="../tags/tag6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chart" Target="../charts/chart18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chart" Target="../charts/chart1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chart" Target="../charts/chart20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chart" Target="../charts/chart2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87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9.xml"/><Relationship Id="rId4" Type="http://schemas.openxmlformats.org/officeDocument/2006/relationships/tags" Target="../tags/tag8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chart" Target="../charts/chart23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chart" Target="../charts/chart24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chart" Target="../charts/chart25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chart" Target="../charts/chart26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chart" Target="../charts/chart27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chart" Target="../charts/chart2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chart" Target="../charts/chart28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7" Type="http://schemas.openxmlformats.org/officeDocument/2006/relationships/chart" Target="../charts/chart29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7" Type="http://schemas.openxmlformats.org/officeDocument/2006/relationships/chart" Target="../charts/chart30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chart" Target="../charts/chart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chart" Target="../charts/chart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chart" Target="../charts/chart5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22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chart" Target="../charts/chart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chart" Target="../charts/chart8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redikce aktuálního počtu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8258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2205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graphicFrame>
        <p:nvGraphicFramePr>
          <p:cNvPr id="41" name="Chart 11">
            <a:extLst>
              <a:ext uri="{FF2B5EF4-FFF2-40B4-BE49-F238E27FC236}">
                <a16:creationId xmlns:a16="http://schemas.microsoft.com/office/drawing/2014/main" id="{7F2AD4E1-7A65-46B2-90B5-F5CE5E71D6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7018618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2" name="TextBox 14">
            <a:extLst>
              <a:ext uri="{FF2B5EF4-FFF2-40B4-BE49-F238E27FC236}">
                <a16:creationId xmlns:a16="http://schemas.microsoft.com/office/drawing/2014/main" id="{108D794C-B7A2-42EE-A851-82491D3CCE0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21B8F6F7-7776-4992-9293-49306873887C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F20BE9DA-8B95-4D10-9598-365FB30AAD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0394652"/>
              </p:ext>
            </p:extLst>
          </p:nvPr>
        </p:nvGraphicFramePr>
        <p:xfrm>
          <a:off x="4709016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D19A8BB-2E32-4A7E-B9B0-EC406AD4084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72E36F9-A465-42C9-9CFC-B5761D0AF3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F810104-17EE-44FB-AC63-6551AC0752B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F30601C-1658-42D9-926B-DDDAAF5234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84FA9B40-2407-4DD2-890D-237AE5F53A5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C673C5B7-0878-4D78-ACA0-7D77D164EFA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6FA9CE8C-9FB1-442A-8641-9ADE0ACD52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53FB0C5-0ED5-49C9-AC56-C6459ABB89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35B3B6D2-8700-462A-BC1C-51C0E0B76BD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C5EB8911-3BBE-46EB-9C94-2A30717286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CA9D8324-E133-4BDE-B1D0-0979D9633F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8EE1BC39-955F-4CBF-88BB-A7BD7FD87C0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450215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95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951A147-3326-464E-96B3-0CFB64D2BC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63912972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FE96C61C-4228-4803-9FA1-E8D9B9DC007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C5238020-2FDF-4C27-8EF7-785ECC94F32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3C3652FE-D00C-4403-AC97-7DE3069E5F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7313532"/>
              </p:ext>
            </p:extLst>
          </p:nvPr>
        </p:nvGraphicFramePr>
        <p:xfrm>
          <a:off x="4709015" y="108125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6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0D6165D-1CE6-4BF2-9CD6-4F316BB1050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10E8038D-3D21-49AF-A45D-C15E3A32D9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ABD3452-2C97-4E53-A9EC-9F26E9CC07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A054E54F-87D5-4D07-9F5A-209FEA35853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3F6FE6E1-4986-4701-88D9-C05626C720A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CC26FC18-0F3C-47E6-AE66-0A1015EBBF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0C89CCD7-4281-4CB3-866C-722BFF4094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DCBD40B-648F-4AE6-BB28-1A856C240DB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9BACD21-9214-4B5E-A620-5BC1BC83505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819DD637-6D99-48E4-B9FE-E115589DC26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9FD2DC3C-5754-4EFE-A456-3311D18AF4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80038156-7B1A-4CFA-9BA7-2F52C33000D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376147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538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8AC455E-664D-4EAE-A854-2B7A9524CC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2908762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CC56B08B-E137-405B-85F8-5B318D60AB3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0579F26-D516-4B95-89FE-689248C5815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019766A7-2579-4076-96C0-29CB06E0B7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8988446"/>
              </p:ext>
            </p:extLst>
          </p:nvPr>
        </p:nvGraphicFramePr>
        <p:xfrm>
          <a:off x="4712535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762BA5A-A83C-4024-9A6F-178AC13C1A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4B0D141-90BE-4FAD-B387-9C08F40F798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D2E382B-385F-44C2-AB06-9F7B0C15D13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6359344C-45C0-4045-AFBD-C6CEAB307C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1A0D1566-6B7F-4D69-AE4D-455598DF632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13DE90B7-CA80-40C3-BC20-44198A5E15B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C6DECCA2-E9B7-41DD-AB2E-4AC93C5040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A44D430-4D8C-4C52-BCE2-711AD550A38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1F3AD2C-8EA5-4C40-A9B7-AA317CCBAD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E3818418-BDA2-43B2-A968-8CB6DFD67DF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EA7CC991-FD8A-4B39-BE4D-D4704454C9F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1A30DCFE-836E-47DF-8802-4A13510F501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89171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938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3FB8C91E-F901-4052-B68C-A2A4C499FF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5933164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67279542-D530-43E8-AEF3-8A836E084CF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76B79F1A-09A2-499B-9A91-14977CC726A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61E2A987-EE8D-4812-B760-D83C1D27B9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6680303"/>
              </p:ext>
            </p:extLst>
          </p:nvPr>
        </p:nvGraphicFramePr>
        <p:xfrm>
          <a:off x="4709015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29390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3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82E559E8-389A-481C-BBCC-974844B29BE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7EAB07A-F1AA-4673-B57B-7B35C9ED8BC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72AD689-3A8F-4A7B-BA37-921475B7960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91E1CD1F-0409-4248-91C1-BC9F7DE6EBB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242FD54-2910-487D-99F4-0F0B5BE4D38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6247B95C-DBB5-41D6-BE66-9B914EA43B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CB72F871-4EDC-428B-A430-26FBF03959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835D628-3EC8-4810-B8BB-73B6EA83FAB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2A3A78B-3D27-4A21-AC4E-E964EE19969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47AA093A-B1EB-4FDF-9155-E6AB593853E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C4B4CCF1-D5EB-4DDA-9163-88A7EBDA86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CABC445B-A461-4712-8801-D9FC35C3C06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588511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900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3443ED8B-A64F-4382-B01C-E8F1B90F46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5861655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0554ECB3-65E4-4F5A-82F7-DE172513E7F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8626477-7AE3-41C5-A0ED-8C343E9FA27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A4AEA1AE-7558-453F-AAC0-F8F49062FF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4362175"/>
              </p:ext>
            </p:extLst>
          </p:nvPr>
        </p:nvGraphicFramePr>
        <p:xfrm>
          <a:off x="4709016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8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7D10D8F5-1FF5-4BAA-9E5D-34D296A2CFF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7719FD6-890B-40D6-AE07-BA61733CAA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C57C42A-A01E-4012-96FB-657EC052FB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3F604048-0942-40C5-AD93-F5AA7CB9C17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2E2F256D-43BB-409C-B5D1-53ADF1AA0E4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26CFBD33-A818-4CFC-B618-8BD4C605BA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6AEE969D-44A2-4EDD-A098-25F94CDC232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5B0642D-22C7-4FCA-8276-E565342B56F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7B09210-FA6C-4A68-8C2A-4395EE3915E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540AAF70-4DDC-4DE5-B785-27A724DB5ED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5E0285E4-66F2-444F-83F7-56FE4A981C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C1E8DBE5-AD07-4B28-9478-7163AE54490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718192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748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 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520BB09D-3596-4C80-9CC7-DF04A1B24C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999100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A391BBAD-A914-4721-9D45-7BA579964FB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68328EE0-0FD7-4A74-A962-1445D43705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F8310875-F13D-4858-8161-51001848B5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2312249"/>
              </p:ext>
            </p:extLst>
          </p:nvPr>
        </p:nvGraphicFramePr>
        <p:xfrm>
          <a:off x="4709015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9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0BBB3A4-7452-4D61-B39A-404E2A68254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C5223820-97F6-4D7D-84D9-239DBDDE2C9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C3F25A1-449A-4684-A14E-EEE33E4951C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51C7BFC7-1040-45D1-8CBF-2A996FDC6CD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954D9387-6414-4B41-84A3-99594870A04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E5A5BA75-0E1D-46BE-91F8-8A893C46332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D849B96A-ABE8-4EB9-B14F-10E2A71FB95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34A5BFBA-6E5B-4AC3-BF31-17ADF367EC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A4245AC-1D6F-4F30-B91D-7F88D19977C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DF04C6F0-888E-4A73-8166-EB85C18FBB2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5DFAE747-6DBE-4513-9781-460BC0259F3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99BB92FA-30EE-4539-918C-9C234FA3F8B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448531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2319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25E0FC16-29C7-4E91-9F68-34B77A9284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824656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7B072D3B-0CF3-42BC-8EF2-C44DCC70325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EB4ED20-614B-41F8-A146-F6E5F2C22BF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AE282F42-F9B1-4AD7-92E4-ABE9E1FE5D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6526510"/>
              </p:ext>
            </p:extLst>
          </p:nvPr>
        </p:nvGraphicFramePr>
        <p:xfrm>
          <a:off x="4709018" y="108334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7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238A2DF-8E4E-4395-9B97-142DF064C46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F7AAD07-1B8C-41AC-9BD7-5E4763DE1F1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3601F6C-83A3-488A-8A5E-C9036AEBEA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43174F3B-DE80-41D2-89D2-F546587D80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4364E75-EA20-469B-AFA5-67EC401D89D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9E9E5CB9-E14E-41CA-914E-9F09F9CA1D2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AACA85C1-A1C0-4E60-91EB-8EE9024F06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F7D71D0B-8317-44B5-805A-0CE1DAA9F0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1D071B78-F9A1-4784-B441-AC83B2B6D04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AE3CA3D7-216C-48D1-91F5-D75F7DA3F88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9B6BB32C-7869-45B3-A8D2-8B4C60D4BB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B439A65F-DC39-4DFC-9E41-3F6608F468F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34631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4" y="3905251"/>
            <a:ext cx="11553825" cy="2009774"/>
          </a:xfrm>
        </p:spPr>
        <p:txBody>
          <a:bodyPr>
            <a:normAutofit fontScale="92500"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Validace modelů: 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5849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 – predikce kumulativního počtu nových případů (od 1. 4. 2021)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70A36FB4-FE08-4AFE-98E4-D07769B07F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85704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839C497B-633E-4701-87EE-F7E00F9A171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5B5FAF48-1DB4-4C1A-B49C-64B836075C5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D92383F3-E847-4CCB-BA7A-29B0C8C8397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33" name="Straight Connector 33">
              <a:extLst>
                <a:ext uri="{FF2B5EF4-FFF2-40B4-BE49-F238E27FC236}">
                  <a16:creationId xmlns:a16="http://schemas.microsoft.com/office/drawing/2014/main" id="{1088E4A7-66EF-4B95-85C2-674BE38C1F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4">
              <a:extLst>
                <a:ext uri="{FF2B5EF4-FFF2-40B4-BE49-F238E27FC236}">
                  <a16:creationId xmlns:a16="http://schemas.microsoft.com/office/drawing/2014/main" id="{EC4CA97C-E44A-41D6-A163-28A1790D185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3551B272-5363-4B67-92A6-BB0CA358DB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72028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A2316A9-A0E5-44E4-81D7-803ADDCB3D6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D4A8FC95-33B3-476C-A080-CDDA6987A82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4F3EE9EB-AEAE-45E6-A885-A61AA1CA9DE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767E49B2-A434-4326-BEC6-2D8BD4F53D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2AE04A3-A919-4790-BDAA-A92A3E9FD7D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4E4C208B-C896-465B-B8E6-1E0FD32DA62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726B7150-4641-4DE5-9D73-F79C00BFBE6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75925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C9C59CA4-CCB2-45C8-8EF7-274A356B6F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803375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BDA760EC-F895-4EB2-9449-61566DFAEA1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61A21E3-1BE0-4CB6-9DB8-6CC1EB48386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EC1B2229-BA11-42F6-9625-F5D1E9BBBB7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1FC1CA41-5F9E-470C-8795-CE04F9D6A4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EDF47B57-3022-4E0D-8A62-6817EF95390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0" name="Tabulka 2">
            <a:extLst>
              <a:ext uri="{FF2B5EF4-FFF2-40B4-BE49-F238E27FC236}">
                <a16:creationId xmlns:a16="http://schemas.microsoft.com/office/drawing/2014/main" id="{C0479546-14B3-4F9B-B385-C3F15C3738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728044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70567C2-CD1C-4092-B080-5FCCE05A3AD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8A81B09-7104-456B-B115-B16B7073870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EF0FA68-EAE2-4B4C-886F-FE65D4663C0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4DE788E2-0307-44AF-90CD-8726CD6113C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C779CCCB-6E63-46CF-BC1F-325A3232171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3254557-D451-4C03-86D6-29E9473468F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8468AD35-93BC-47E1-B2A7-CABD720B152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9">
            <a:extLst>
              <a:ext uri="{FF2B5EF4-FFF2-40B4-BE49-F238E27FC236}">
                <a16:creationId xmlns:a16="http://schemas.microsoft.com/office/drawing/2014/main" id="{2A2845E6-D3EC-46CA-B91B-6BB842DA25B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8979851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6695064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729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grpSp>
        <p:nvGrpSpPr>
          <p:cNvPr id="31" name="Skupina 30">
            <a:extLst>
              <a:ext uri="{FF2B5EF4-FFF2-40B4-BE49-F238E27FC236}">
                <a16:creationId xmlns:a16="http://schemas.microsoft.com/office/drawing/2014/main" id="{13D30170-EB7D-4726-BFFC-DB237EB911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32" name="Straight Connector 33">
              <a:extLst>
                <a:ext uri="{FF2B5EF4-FFF2-40B4-BE49-F238E27FC236}">
                  <a16:creationId xmlns:a16="http://schemas.microsoft.com/office/drawing/2014/main" id="{997C5BB9-65D5-4BDD-8812-07841821FF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B371D5FE-B20C-4D1E-B431-53320B20EE0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3" name="Tabulka 2">
            <a:extLst>
              <a:ext uri="{FF2B5EF4-FFF2-40B4-BE49-F238E27FC236}">
                <a16:creationId xmlns:a16="http://schemas.microsoft.com/office/drawing/2014/main" id="{C543536D-1CF1-42AE-AD04-789E6703A2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9414578"/>
              </p:ext>
            </p:extLst>
          </p:nvPr>
        </p:nvGraphicFramePr>
        <p:xfrm>
          <a:off x="4717331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53357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 64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2" name="Skupina 11">
            <a:extLst>
              <a:ext uri="{FF2B5EF4-FFF2-40B4-BE49-F238E27FC236}">
                <a16:creationId xmlns:a16="http://schemas.microsoft.com/office/drawing/2014/main" id="{2729AB25-48DA-4F5C-83BF-06265DE0AE0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3" name="Přímá spojnice 12">
              <a:extLst>
                <a:ext uri="{FF2B5EF4-FFF2-40B4-BE49-F238E27FC236}">
                  <a16:creationId xmlns:a16="http://schemas.microsoft.com/office/drawing/2014/main" id="{EB955D61-13B3-40B6-A570-E4177A6512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6CCB9DEA-BE2F-41F2-9527-398A4AE493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FE45D3A-BBC3-4C2E-831C-463D264AFE0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2072430-1052-4511-9F5F-1D559DFBC97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9234C83-A7EB-4A39-B9AD-4DD2CF30ECF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61BC7AB-AA91-4D6C-864A-A148C74092E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02CF92A-B107-4E0F-817F-50D75780D70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59139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– predikce kumulativního počtu nových případů (od 1. 4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622982BC-9960-45A6-95D4-125E705B4E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6203917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3F43502F-5763-4242-9402-FF04E391AA3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2A6EF79-7E82-4907-87AE-B81926A814E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14D23495-EFAC-4136-A899-74742EEAB2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69E385ED-E543-4F72-BCF8-CB25C3BA32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28DFA151-6B25-4060-A636-F20C9AE2FD8F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A36E34FD-1CEA-422E-B13C-14BE70554F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938617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08EC64BD-CDC8-47E4-B30D-DE364DFB2C6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ACA4EC3-1CAC-4A68-8DE6-4FB3F3A354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CBFB75E3-8C10-4276-A48D-2DEC99FFC6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91237D35-934E-41C4-A451-F6866090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2815C1F-E73C-4BD3-B20C-56231309FED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8ECBEB0-6BC2-49E1-B341-27A659934DB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765219A8-8A2A-441A-BA75-4D4F985C127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58250767-5868-451F-BE7B-D4358156BCF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2295657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F4F2A46-710C-4596-8DBC-EC836CA82E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146546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– predikce kumulativního počtu nových případů (od 1. 4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9DB4CD35-6018-432F-8B4B-D04D1A69AD9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BF711CEA-4093-4E28-919B-0DFA7ABAB8D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C30C391E-49A1-46C7-A1E5-889E8ABBE77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28D23CF-4B39-42EA-AE55-D693E923986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01A95EA-947C-416D-8234-9BBC24A202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4A372B75-0802-46F0-945D-2DEBB56282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673929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3A00E97-E32D-49D1-870B-6339C62E133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F8AA89FC-C924-4831-AF3C-37F57493FF5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31BEE61-676C-4276-88E7-66E38BE8297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CAAC0BB-FED6-4672-9C22-7D8E46D0C23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DF027BC3-05FA-44F1-B6E2-F0B35D3E865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B0DCF97-7F72-40D8-AF4A-46178D16048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81019F68-E090-4FB1-9186-34A70D09E3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9836C69-A2BC-4CBB-B92B-0E367A045D9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9437966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– predikce kumulativního počtu nových případů (od 1. 4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5680DFED-CEEB-44D9-819E-85103FD352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3042178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32EAEDF-8C78-49A3-841A-560A5CCEC40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1525456C-C187-4441-A666-FD9C0C2E508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73DC4482-E86C-456E-83EA-1E282811820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89A0B1C-604C-4C27-A1A8-87C6757BDB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9DC0EFE-F963-4CD5-BBFD-D160A4855E2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D30920EF-D10F-4F93-9B2C-76CC9FFCF2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006118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36B40C2-1DE5-4A7B-A53D-FBAF7267E18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2A2AF70-9D7A-4290-8BA2-64159241278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F925505-631F-4FFC-A1AF-5C4D9E46542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0C61DEF2-97E5-4902-8360-A7870456BEE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46DEF0E-2290-4C24-9057-82950894755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641E88A-24AB-477A-9321-8F8FF78329C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C8B343F-D054-46BD-B81E-8852E9DCD6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AB23E26C-93D1-4F50-81C7-5C94A29587D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9769683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EB37F279-1532-4774-A92F-BDDD75364C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318617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F093F63-EB53-4CB2-86D9-822681F0B0D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7831C690-9441-4BBE-AF06-8B44035BA96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BCC5ADB9-6CFB-4CAD-84EB-868C2542599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0A8772A1-5DDA-4051-BC36-EF518EB02A7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A15DD78E-7F8D-42F9-848B-8C3FA6C6B5F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C78B1221-7F8C-498C-AC22-396CDA3E4B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51348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7EA8C75-1101-4C05-9D20-C9512ABDBE5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B90AD9E0-F671-4113-B0BB-27F9F55C5BE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CC6CDCF-A8C4-46F6-ACB6-66263D8DE5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DE191C55-C75A-4B43-B90E-E1C792DDC14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4C8D838F-DE65-4EE8-941F-C20031793BB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C4F63B0-01FE-4433-8DDC-2EF8F43C536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230FEE6-B3CE-46D7-A9A2-03AF984BCE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186C7467-226C-400A-BA16-5360DFEEAF1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2803875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CABE9A0-07EB-414E-9A5C-5843859A8B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5723221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3B52C27-83AC-4922-A74A-B91AF3474F5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93ECF6C-DC0F-4C03-8F13-05B155CE986D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C80705F-A75E-4266-962E-89E61F0989C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FC82588-56C3-4667-BFE7-3B393E42A38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13FF616C-DDCE-4E9D-B423-1CE010824BD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8B425E83-C5B9-4DBF-99E2-660A768A00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491943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288A229-63FD-4E73-84BD-3C4B4A3E344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59911F6A-33D4-4457-92C8-77C5E0D7A5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91B23201-58CD-48ED-803E-4B0AC1B7A59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827679D1-F418-45BB-A9BA-60C3B46C4A6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997713F-909E-4850-BC45-416381C286D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A352DD25-77A3-49FD-9E09-16E1D1BEBE8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BD6821D-7217-433C-8B4A-75F4B3B58A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62AA9917-7100-487B-9AE3-B2EF681F578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72007874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C6C1DAFA-1C3B-4345-98C6-89530C5A52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5638408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– predikce kumulativního počtu nových případů (od 1. 4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57A7A56A-2B50-4B64-A117-82BC38234D0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6" name="TextBox 31">
            <a:extLst>
              <a:ext uri="{FF2B5EF4-FFF2-40B4-BE49-F238E27FC236}">
                <a16:creationId xmlns:a16="http://schemas.microsoft.com/office/drawing/2014/main" id="{DD364A02-98E9-454A-9694-BC934420E02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15485F14-2846-465C-8AFA-61C3FA52B1F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F398E731-7DEF-4B22-8445-43AD58D3837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38DF0666-E578-4103-B6AB-08996C177AB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Tabulka 2">
            <a:extLst>
              <a:ext uri="{FF2B5EF4-FFF2-40B4-BE49-F238E27FC236}">
                <a16:creationId xmlns:a16="http://schemas.microsoft.com/office/drawing/2014/main" id="{D7FE066D-D440-4A3C-AE49-53ECA59A9D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967798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4" name="Skupina 13">
            <a:extLst>
              <a:ext uri="{FF2B5EF4-FFF2-40B4-BE49-F238E27FC236}">
                <a16:creationId xmlns:a16="http://schemas.microsoft.com/office/drawing/2014/main" id="{A2EEAAB7-3595-4B5C-91A5-1E9F4B262BC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E943336-A85F-448C-A8F8-993F4625748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1CA8CF34-A4DF-4B46-9F66-E0316E6915A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0E919F2D-8A31-4FDA-BB4D-5346494FDC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7D417CFB-9A9D-4D30-9420-E798488739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B90FC34C-9314-4EDE-960B-13842C8DDBE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B37A83EB-4402-4CA7-A75C-F08725843B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380F5B82-3113-4F1C-8653-FE36FC97DEA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5417887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– predikce kumulativního počtu nových případů (od 1. 4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B373A2D9-CB20-4625-AFA3-6EFE6E0372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22035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TextBox 14">
            <a:extLst>
              <a:ext uri="{FF2B5EF4-FFF2-40B4-BE49-F238E27FC236}">
                <a16:creationId xmlns:a16="http://schemas.microsoft.com/office/drawing/2014/main" id="{6993EBE4-E182-4FE5-9F1F-99FAB99B5E6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44BE85AB-D9DA-4AB2-AE1D-6334473253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43FC341F-8DE7-478D-9FAC-057E38C8782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5" name="Straight Connector 33">
              <a:extLst>
                <a:ext uri="{FF2B5EF4-FFF2-40B4-BE49-F238E27FC236}">
                  <a16:creationId xmlns:a16="http://schemas.microsoft.com/office/drawing/2014/main" id="{EBFE7373-B3DB-4924-A3AF-876894F123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CF062A53-97B0-4FF1-8E50-0A84542FC7B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8D6E0829-649D-4432-81BA-8078EDC381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79083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8CD3F6B1-7523-4B8A-AAD1-83CF1B41552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87731F23-6AAC-4F40-9531-43A82F7FC7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669470A-689F-4343-9D5B-91D4F719B4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7E95874E-29A8-4075-8A65-CF266D8156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58BE3C8E-67A1-497E-8D86-CC50136EADF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08EB3AF9-259D-4FED-8692-E4BEB84E2DD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9D18ED65-11BD-4C00-958B-55C5573FDB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Box 9">
            <a:extLst>
              <a:ext uri="{FF2B5EF4-FFF2-40B4-BE49-F238E27FC236}">
                <a16:creationId xmlns:a16="http://schemas.microsoft.com/office/drawing/2014/main" id="{876AA75A-8708-4925-A969-F188009A91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7605950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7D72507F-24E9-44A5-A543-16C5E613BE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071799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CD799857-8505-4A07-8D9E-75C4740871B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61DC87A-895B-42C1-AE75-B5306A3E46F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9DEC943A-5FF7-4A3C-B7BD-8741DE76D8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996A9EF5-7063-4D57-A398-3EF130B6AA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43D349CA-35B8-4F31-9AE0-1E06AD0ECAF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5BDAD2B6-CF61-494B-A068-27D8AC308D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056315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E4F722F-FD0E-4A83-A118-D6294ED3FB0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AB6366F3-4CD2-4BE2-AA2D-A5FA5B4669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BCA876DB-3E01-4BE9-862E-EAE1B0A58DD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47A25403-7DF4-4309-B43C-A3AD9D7E148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9B18F9A-BE15-411F-84A2-882DE16A783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4AF5C7EC-1CB1-4CA8-BA0F-B6B9B9A579A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371F525-445B-49F1-A710-4F00C4C837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A3DB8203-23BF-4BE7-8AB2-21A7AAE3835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417893980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– predikce kumulativního počtu nových případů (od 1. 4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72A27B3A-69DD-4EC4-907B-B50B9476D4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122478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6F0E3D64-30C9-43AC-BBE0-10E839AA6C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01FBD53-3308-4B8C-A0A5-0C7CB2260014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225EFAE-6A39-4AA1-A6EC-DDCB42BBB8C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0E92D1B0-BD75-4BF3-8D98-0536F88AA9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BFAC30F-418C-4969-B828-66421EA51B2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889F7992-E8DD-4A2E-A01A-510ECA6384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841938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F6A8A6AE-C283-4ADD-8ED9-7ADE67E80BB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FF1D7DF5-30E0-4C30-9ECE-C7D7DFB510A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BFE6D5C-24CA-42A8-B430-0FE9448C234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6A862C5-A080-44E8-B073-E493AFDEFA2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FE42B41-651D-461B-BE00-9A5DF55E2F4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084CC47-94D6-4BE4-9551-1DCCA2FD87A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B0DC3909-854C-4458-AEF4-AB08A0982F9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CE751078-7B5A-47B0-AF34-B69A9D4EC4B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5389473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6ACE0A4E-FE76-407C-89CF-A4E8438496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5846843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F5E95CC-5E75-4004-9597-41D2CBF6B5C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68DDE47-1557-4C42-8EDD-06CB651B62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FE6EB8A-8A1A-43B1-93B2-947A04E639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3BBEE0D2-7C55-4F1F-9317-DF18E47B0D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89B8F90F-E49A-408F-9FBD-A484B0B56A0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A6131DF6-2E4E-4505-8DC3-E6D48CF35F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436642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5878ABD-3B21-451C-9164-8666112634C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94E094C8-35D2-4428-B2C8-8E540A37D5E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895DBDAC-A132-429B-912F-86FD69A7432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56655271-4CE1-42F9-9889-F8F49EEC640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1EFF60B-7A9C-4394-83E4-ECB493EEE2E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BC50D538-FF5B-4FDC-BC4E-3856A593175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D6E78508-BCBC-4338-9FDE-4AC5FD3C874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28217B79-3D08-4344-BD77-9F71EDECAC8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394430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Chart 11">
            <a:extLst>
              <a:ext uri="{FF2B5EF4-FFF2-40B4-BE49-F238E27FC236}">
                <a16:creationId xmlns:a16="http://schemas.microsoft.com/office/drawing/2014/main" id="{F7423A05-3E39-4548-B885-B1B952956F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042967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6473A717-DB52-4496-9C7D-D8FF85378C8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476F7103-0D40-4C08-BD67-8CF84B5D55C9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2" name="Tabulka 2">
            <a:extLst>
              <a:ext uri="{FF2B5EF4-FFF2-40B4-BE49-F238E27FC236}">
                <a16:creationId xmlns:a16="http://schemas.microsoft.com/office/drawing/2014/main" id="{4FB2C296-779B-434F-AD41-A7A7C3BB68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8126719"/>
              </p:ext>
            </p:extLst>
          </p:nvPr>
        </p:nvGraphicFramePr>
        <p:xfrm>
          <a:off x="4717330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3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42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42" name="TextBox 9">
            <a:extLst>
              <a:ext uri="{FF2B5EF4-FFF2-40B4-BE49-F238E27FC236}">
                <a16:creationId xmlns:a16="http://schemas.microsoft.com/office/drawing/2014/main" id="{1B240E17-9412-405D-827B-C17F12455A2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98B9D771-7E79-4C30-8E0C-E5D465403435}"/>
              </a:ext>
            </a:extLst>
          </p:cNvPr>
          <p:cNvGrpSpPr/>
          <p:nvPr/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F17FDAAE-AAD6-4BEC-9DCE-F6736772B3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E24368E4-022C-4C62-9775-41CBF3FC5C4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75192BC9-16D9-48FE-803C-01DE6A2CB1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BAA15585-119A-4583-B833-9092232A91E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8A282D18-8273-47B6-BA45-6FAE7829ED4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B3810010-B23C-452B-93DD-979322C6B2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A86F0CE-F665-4D2F-8406-56AD8AEEAA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6D748BD-989D-49F5-9BF7-28ED7DF4333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F37D3322-B298-4849-99B2-A3E407F11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E70CF3B0-5C62-4611-86D3-A5E39EA67CD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5835486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013F39F8-0A8A-478C-8473-2D937502A1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160298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87EE37-D3EB-4503-9B65-6A2CEC6CE31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CEFE8C2-8CA5-402C-80E3-AA873722D8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D851B109-B4D7-4B13-AA55-CA15228F13C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21EFAE9-6EEA-466B-8B86-7CD60DCAE6A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A4C1BFD2-46FE-426E-A9D8-E30C0117CE5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43A1F8FC-493C-40F1-BA41-210D2192A8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557547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EA901BC-914E-4575-ACDC-47A87242B90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2FD7907-ADDD-4AFA-B3F4-D85879E44F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6E6D54CF-DB8E-4E31-8517-44635E5B36A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B79E11A5-E2BE-4BE6-AAFB-D836BEE1C9D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4F49809-1FD0-4666-8D5A-D2F055032B3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D1607084-B6D5-475C-9F76-B24F52AC090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49B2417-A4AA-4CBD-AF72-B99F8E1FD14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41EE5F8A-4AF7-4E3C-BE41-644FD0B3077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1406723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18527B39-056D-46D4-93E7-B49E0B1B01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7351514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519D2141-9299-4B5B-8218-0753BE2C7A2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FF0C132-90A7-44A4-BD26-DADE5234B9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788AD950-E36C-461B-9A24-CB7A432E722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E326990-88B1-400F-9E58-CD0C630A13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4F4BF246-0934-4A33-967D-4C2DEA0E816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3FAB1F30-DB9F-419A-9492-A3213E96F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3630656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EFC46F0-C3B3-4E3E-A167-E4E15226381D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02765194-64EF-4D9B-BE39-FF4B75812FB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F4179A28-A6F6-453C-B7A5-58129849FD8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3B89077D-66DD-4D47-B9A3-E7E53823E5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AC412B98-F244-45BF-8A28-FF6C6226BEF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36B9BED-6C66-4A46-B77F-821B2F17328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3B10229C-6346-48D6-A7BF-734F74617AB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18662AE-5AEB-4D87-8D2E-87C775A5EB2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0769739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– predikce kumulativního počtu nových případů (od 1. 4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7614529-58E6-45E7-ADD5-8E473C1EDA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683045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5FFB0AB-60CA-4004-ACFA-199B952C55F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53390C9E-CDAE-437E-98AC-C02AE808006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3FEAFF0-90A1-472F-924E-8B151FED7E9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F70E9D96-A1F5-4BAC-9979-F1B06BDB76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80A6A33B-CCD4-47FC-BD1D-9F3CEEBCAB2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Tabulka 2">
            <a:extLst>
              <a:ext uri="{FF2B5EF4-FFF2-40B4-BE49-F238E27FC236}">
                <a16:creationId xmlns:a16="http://schemas.microsoft.com/office/drawing/2014/main" id="{8706BBB3-8B0B-4A7A-A701-F6C86A91F8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430915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7CF1C8B-0F51-4C01-8EC7-914B162F7A6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1169551"/>
            <a:chOff x="10258697" y="3526984"/>
            <a:chExt cx="1900937" cy="1169551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7ACD2E60-5018-46CE-9E9B-964645B72E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29143A67-CD82-4025-82FA-0DE685CEFC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2BCB97F7-41D0-475A-9EE8-FBBAE31D3AA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3425E4B9-78F8-4089-8710-76C7AD2388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F5E6932-F518-4253-88DB-F7B09833D2D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046A9D1-AC8F-4521-BBA7-1560DD0A91A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982BB0B2-AB96-4933-BC63-85B3BE3971F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2908892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824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78D999-1850-49B0-96DA-3614EDCFCD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5591708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757BA669-242E-4DC1-8D43-543E48FF59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DDC6401-D3EE-4590-9341-AA2762F8D52E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99D874B5-8CA5-4C71-AD20-F2F4274388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3337556"/>
              </p:ext>
            </p:extLst>
          </p:nvPr>
        </p:nvGraphicFramePr>
        <p:xfrm>
          <a:off x="4717329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5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0CDEAF8-BDE6-4CFF-96AF-96CF38FEF12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E6EB5870-DBD7-4A61-B812-DD35516AEF5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00033D86-B316-4075-BA91-A7D917DDC3A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794628C8-43B3-43B7-9474-CBBB1AFC90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09870AF-476C-44BD-B571-CB8CCE097DB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8B457167-EFBF-437E-8172-9BAC5511999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45442D2E-01D4-4592-A1F7-35D935512C0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21F6911-1A67-4D81-A25D-2126012C807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FDD4F266-C6AC-49A7-813D-363E588CBFA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7FEC4D9E-F7C3-4721-8130-9342C542CE9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C37BB749-6EAF-41EC-B3BE-FB833F5D5C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FA55D5EC-B4C5-45F9-B635-D3CF4623D49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054944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653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2A04911D-CACC-40E9-B7F3-B4ABECDC1D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38504732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A21B873F-EB74-4E61-B342-7919FA155A9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329E564-1414-431B-90EB-841146634A50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13141BA4-EC18-469D-9701-7F7C9FF5E2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2488008"/>
              </p:ext>
            </p:extLst>
          </p:nvPr>
        </p:nvGraphicFramePr>
        <p:xfrm>
          <a:off x="4717330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0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FE55678-9D1C-43F1-973C-7E2761C7F2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3863457D-B71E-4896-907E-1E908F1796F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E425D9A4-CD71-4A79-AC70-2089DF166DC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1272B2D4-9218-46F7-8740-513F711976D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5D6931DC-E013-469B-B414-13283D3F5E4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F57D690F-9097-4735-82CB-F6F430B6263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1B4BF40B-5EAD-4078-A738-DB6F3D7C665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CCA454EE-C814-4E47-A5D3-0584BD0CDE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D6177B80-A47C-443D-B734-C2A29B8061F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AC7C6688-CAB6-49ED-BA1B-5744FFF5F0F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DE0527A7-0B40-4B30-8039-B01159EEA63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AEE95489-95BD-4592-9750-35513C8ED1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36812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519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AACA530-A92A-4FFD-A613-B409B0ECF1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657048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5B83CD47-3A18-420B-8D2A-961B32A3F3D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469890D3-5EED-4FCC-81B2-4F1C6F13F83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135762CD-1C10-4910-B48C-A928175FF5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408100"/>
              </p:ext>
            </p:extLst>
          </p:nvPr>
        </p:nvGraphicFramePr>
        <p:xfrm>
          <a:off x="4714959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2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CB6E109-6A6B-464D-B2CE-3A331CA1270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83C46D6C-18B6-419E-BD02-6788E981AFB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95CAD159-633E-4F8B-B20A-21145CB9A2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86EF71F4-C5EF-40AC-B836-38B63DF33C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E7F2BF1B-1DB3-41E9-B1F0-A479AFE4772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B260A201-1965-4D24-9003-62A61378CC1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99FD2421-42C7-432A-BBEA-DB12671872D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0D175F79-7E37-42B2-98D3-573E8E9DDB9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C3F5F8C1-640D-44BE-BC27-52A403D6E29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DFC0120C-E819-4C2B-B6B7-C9009CFCF9B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8378D30E-0A55-4A8A-B49D-6502032B6F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2420D8F0-5D38-4A31-92D4-9242F24D039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079144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805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7BCFCF7-3C31-4884-9ECD-6A201A4EED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90456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1FB581D9-85E1-4EB1-8A0C-2560641D406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385BA72-9716-4C6D-8344-7F4D15AC224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2" name="Tabulka 2">
            <a:extLst>
              <a:ext uri="{FF2B5EF4-FFF2-40B4-BE49-F238E27FC236}">
                <a16:creationId xmlns:a16="http://schemas.microsoft.com/office/drawing/2014/main" id="{6F591BA3-43C9-4D00-8FA9-04166BFAD5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6878465"/>
              </p:ext>
            </p:extLst>
          </p:nvPr>
        </p:nvGraphicFramePr>
        <p:xfrm>
          <a:off x="4709016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28F352AA-87C2-467F-8D8D-0E12BF72E0E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05C18D45-D223-483F-BA25-FF44BA5BB1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0C696637-E808-4BE5-9225-7A874D63054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1035F6F3-E6A6-43A4-82E0-8DF5E4B92E1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951595" y="2495996"/>
            <a:ext cx="1900937" cy="1908215"/>
            <a:chOff x="10258697" y="3526984"/>
            <a:chExt cx="1900937" cy="1908215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BFF43BC6-FDB9-4E0D-8260-29BCCD39C24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1CFC6954-4E70-4117-B85A-7B6BC76865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AF77A9B5-89A0-4108-ABE4-3468DEAE26A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00754945-C08D-42C5-9840-57C836F6BE4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1" name="TextovéPole 28">
              <a:extLst>
                <a:ext uri="{FF2B5EF4-FFF2-40B4-BE49-F238E27FC236}">
                  <a16:creationId xmlns:a16="http://schemas.microsoft.com/office/drawing/2014/main" id="{CF4B4814-18A9-459E-A7C5-9A5A99F7211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0E3159FE-1E6D-4972-9AA7-96EEED5E4F2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5275FA3F-A720-47CA-A383-AD3BF03B5B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Box 9">
            <a:extLst>
              <a:ext uri="{FF2B5EF4-FFF2-40B4-BE49-F238E27FC236}">
                <a16:creationId xmlns:a16="http://schemas.microsoft.com/office/drawing/2014/main" id="{07B27624-905D-48A2-B3B0-AA402282F52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978821" y="204321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98CED646-D3EC-4DA0-A5A3-D2937D1A792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323548" y="4390031"/>
            <a:ext cx="193686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známka: Vzhledem k nízkému počtu pacientů na JIP v týdnu, který předchází počátku predikcí, mohou být hodnoty při rizikovém scénáři (R &gt; 1) podhodnoceny.</a:t>
            </a:r>
          </a:p>
        </p:txBody>
      </p:sp>
    </p:spTree>
    <p:extLst>
      <p:ext uri="{BB962C8B-B14F-4D97-AF65-F5344CB8AC3E}">
        <p14:creationId xmlns:p14="http://schemas.microsoft.com/office/powerpoint/2010/main" val="35764330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424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9081278E-1859-499E-A660-995C49E468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261845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91F6A506-E8C6-4D83-B7FA-AAB3ED7AF0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6E9D42A2-679B-4115-861D-307A533B0DE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6" name="Tabulka 2">
            <a:extLst>
              <a:ext uri="{FF2B5EF4-FFF2-40B4-BE49-F238E27FC236}">
                <a16:creationId xmlns:a16="http://schemas.microsoft.com/office/drawing/2014/main" id="{943207AF-F3F4-40B6-B96B-B11736ADF1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7858399"/>
              </p:ext>
            </p:extLst>
          </p:nvPr>
        </p:nvGraphicFramePr>
        <p:xfrm>
          <a:off x="4710458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5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15AB023C-B396-42E4-89FB-C11B8D1F763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AB83D96F-8DB9-4269-8760-C4EBB13520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51F68AF-8A53-478C-99CA-83D754558D0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95C0C6D-0074-40B8-B0A9-3F8517F9EA0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A79DD288-F344-4F7A-832C-B9D061FEDB0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9AAF966C-2703-44FF-9B17-D195C3DEF4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19" name="Přímá spojnice 18">
              <a:extLst>
                <a:ext uri="{FF2B5EF4-FFF2-40B4-BE49-F238E27FC236}">
                  <a16:creationId xmlns:a16="http://schemas.microsoft.com/office/drawing/2014/main" id="{04DE5E65-DCE0-475B-A227-2AA13375809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640E8C8F-3575-4CD0-BFD4-7C0BBD918B4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9">
            <a:extLst>
              <a:ext uri="{FF2B5EF4-FFF2-40B4-BE49-F238E27FC236}">
                <a16:creationId xmlns:a16="http://schemas.microsoft.com/office/drawing/2014/main" id="{96AD5287-CB36-40F0-8EFB-BD96C0E8A8C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2EFF035E-B5AB-4259-ADD2-FF7BA5DF9E5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E1783237-B8AD-46E8-9894-882208ACE3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4A2A90EA-38BC-43DC-B0E8-AE78A87FE99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732120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8DD95BDE-9EA5-4D94-B5AC-A6A1F0DE00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610459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557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47" name="TextBox 14">
            <a:extLst>
              <a:ext uri="{FF2B5EF4-FFF2-40B4-BE49-F238E27FC236}">
                <a16:creationId xmlns:a16="http://schemas.microsoft.com/office/drawing/2014/main" id="{73DBAC9F-1D60-4927-B501-8D23F806918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8" name="TextBox 31">
            <a:extLst>
              <a:ext uri="{FF2B5EF4-FFF2-40B4-BE49-F238E27FC236}">
                <a16:creationId xmlns:a16="http://schemas.microsoft.com/office/drawing/2014/main" id="{B8A45F97-BDC3-4B04-981C-98E021C880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7" name="Tabulka 2">
            <a:extLst>
              <a:ext uri="{FF2B5EF4-FFF2-40B4-BE49-F238E27FC236}">
                <a16:creationId xmlns:a16="http://schemas.microsoft.com/office/drawing/2014/main" id="{D6023738-6DCA-4237-8729-1510E9C7A1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1630309"/>
              </p:ext>
            </p:extLst>
          </p:nvPr>
        </p:nvGraphicFramePr>
        <p:xfrm>
          <a:off x="4710111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4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4" name="Skupina 13">
            <a:extLst>
              <a:ext uri="{FF2B5EF4-FFF2-40B4-BE49-F238E27FC236}">
                <a16:creationId xmlns:a16="http://schemas.microsoft.com/office/drawing/2014/main" id="{E7D82E63-C6F2-4470-9A58-ED8C13C23E3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3C393707-2238-4B90-9ADD-9034F4F96B3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4727A222-38AA-4611-A41D-875BF0875C4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93B7B117-B54B-4315-B491-15189D8397D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E27286C-0799-4734-A0A9-CB74C0EB84A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5E0204E-F029-416A-A1F3-F806902CBF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hospitalizovaných na JIP</a:t>
              </a:r>
              <a:endParaRPr lang="cs-CZ" sz="800" dirty="0"/>
            </a:p>
          </p:txBody>
        </p: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193CA92E-23FC-472A-81B5-DE96A4AE47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AE4564A-B823-49ED-B079-A53C398FE25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9">
            <a:extLst>
              <a:ext uri="{FF2B5EF4-FFF2-40B4-BE49-F238E27FC236}">
                <a16:creationId xmlns:a16="http://schemas.microsoft.com/office/drawing/2014/main" id="{49643FE0-0760-419E-9118-43F646CB972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20842BAC-FB54-4EA9-AB0B-7254C461A07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5" name="Straight Connector 33">
              <a:extLst>
                <a:ext uri="{FF2B5EF4-FFF2-40B4-BE49-F238E27FC236}">
                  <a16:creationId xmlns:a16="http://schemas.microsoft.com/office/drawing/2014/main" id="{0EEBCA72-1A2D-4787-B223-C7D1AA67EE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14F71FDA-D2D6-4F86-9437-E031123639B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471392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2" id="{2D4A943D-6CF5-40F5-A5FA-3C4268B520E4}" vid="{E1241590-6921-44BE-A193-115F12259E7B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1</TotalTime>
  <Words>2307</Words>
  <Application>Microsoft Office PowerPoint</Application>
  <PresentationFormat>Širokoúhlá obrazovka</PresentationFormat>
  <Paragraphs>393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2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Jan Švancara</cp:lastModifiedBy>
  <cp:revision>143</cp:revision>
  <dcterms:created xsi:type="dcterms:W3CDTF">2021-03-07T17:04:34Z</dcterms:created>
  <dcterms:modified xsi:type="dcterms:W3CDTF">2021-06-02T17:37:39Z</dcterms:modified>
</cp:coreProperties>
</file>